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9"/>
  </p:notesMasterIdLst>
  <p:sldIdLst>
    <p:sldId id="2147469993" r:id="rId5"/>
    <p:sldId id="2147469994" r:id="rId6"/>
    <p:sldId id="2147470000" r:id="rId7"/>
    <p:sldId id="2147469996" r:id="rId8"/>
    <p:sldId id="2147470001" r:id="rId9"/>
    <p:sldId id="2147470028" r:id="rId10"/>
    <p:sldId id="2147470015" r:id="rId11"/>
    <p:sldId id="2147470006" r:id="rId12"/>
    <p:sldId id="2147470031" r:id="rId13"/>
    <p:sldId id="2147470002" r:id="rId14"/>
    <p:sldId id="2147470012" r:id="rId15"/>
    <p:sldId id="2147470016" r:id="rId16"/>
    <p:sldId id="2147470003" r:id="rId17"/>
    <p:sldId id="2147470009" r:id="rId18"/>
    <p:sldId id="2147470032" r:id="rId19"/>
    <p:sldId id="2147470026" r:id="rId20"/>
    <p:sldId id="2147470017" r:id="rId21"/>
    <p:sldId id="2147470014" r:id="rId22"/>
    <p:sldId id="2147470013" r:id="rId23"/>
    <p:sldId id="2147470024" r:id="rId24"/>
    <p:sldId id="2147470025" r:id="rId25"/>
    <p:sldId id="2147470029" r:id="rId26"/>
    <p:sldId id="2147470008" r:id="rId27"/>
    <p:sldId id="2147470018" r:id="rId28"/>
    <p:sldId id="2147470030" r:id="rId29"/>
    <p:sldId id="2147470019" r:id="rId30"/>
    <p:sldId id="2147470004" r:id="rId31"/>
    <p:sldId id="2147470022" r:id="rId32"/>
    <p:sldId id="2147470010" r:id="rId33"/>
    <p:sldId id="2147470023" r:id="rId34"/>
    <p:sldId id="2147470027" r:id="rId35"/>
    <p:sldId id="2147470011" r:id="rId36"/>
    <p:sldId id="2147470021" r:id="rId37"/>
    <p:sldId id="2147469999" r:id="rId38"/>
  </p:sldIdLst>
  <p:sldSz cx="12192000" cy="6858000"/>
  <p:notesSz cx="6858000" cy="9144000"/>
  <p:custDataLst>
    <p:tags r:id="rId4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959DAC5F-E487-4A87-BA94-6710A23EA1F6}">
          <p14:sldIdLst>
            <p14:sldId id="2147469993"/>
            <p14:sldId id="2147469994"/>
          </p14:sldIdLst>
        </p14:section>
        <p14:section name="Introduction" id="{FC92099D-4393-4854-B541-C44DE696C43B}">
          <p14:sldIdLst>
            <p14:sldId id="2147470000"/>
          </p14:sldIdLst>
        </p14:section>
        <p14:section name="Section 1" id="{32585093-DA9E-4A34-96AE-7B6304299E09}">
          <p14:sldIdLst>
            <p14:sldId id="2147469996"/>
            <p14:sldId id="2147470001"/>
            <p14:sldId id="2147470028"/>
            <p14:sldId id="2147470015"/>
            <p14:sldId id="2147470006"/>
            <p14:sldId id="2147470031"/>
          </p14:sldIdLst>
        </p14:section>
        <p14:section name="Section 2" id="{98290EE6-7193-4333-8BEE-FB021BD8463E}">
          <p14:sldIdLst>
            <p14:sldId id="2147470002"/>
            <p14:sldId id="2147470012"/>
            <p14:sldId id="2147470016"/>
            <p14:sldId id="2147470003"/>
            <p14:sldId id="2147470009"/>
            <p14:sldId id="2147470032"/>
            <p14:sldId id="2147470026"/>
            <p14:sldId id="2147470017"/>
            <p14:sldId id="2147470014"/>
            <p14:sldId id="2147470013"/>
            <p14:sldId id="2147470024"/>
            <p14:sldId id="2147470025"/>
            <p14:sldId id="2147470029"/>
            <p14:sldId id="2147470008"/>
            <p14:sldId id="2147470018"/>
            <p14:sldId id="2147470030"/>
            <p14:sldId id="2147470019"/>
          </p14:sldIdLst>
        </p14:section>
        <p14:section name="Section 3" id="{1361E831-DF80-4B44-ADCE-8C263953315B}">
          <p14:sldIdLst>
            <p14:sldId id="2147470004"/>
            <p14:sldId id="2147470022"/>
            <p14:sldId id="2147470010"/>
            <p14:sldId id="2147470023"/>
            <p14:sldId id="2147470027"/>
            <p14:sldId id="2147470011"/>
            <p14:sldId id="2147470021"/>
          </p14:sldIdLst>
        </p14:section>
        <p14:section name="Final" id="{A5449EC0-9812-4746-BAED-C00CA2A80CBB}">
          <p14:sldIdLst>
            <p14:sldId id="214746999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93B1C8A-8BC5-3AC3-7BE4-80C224C78B70}" name="Thomas Stensitzki" initials="TS" userId="S::thomas.stensitzki@granikos.eu::75cafe6b-2f2a-469b-85c4-eec3b9c972ba" providerId="AD"/>
  <p188:author id="{A3FB548D-9CAC-2BE0-B505-A8989452357D}" name="Sigi Jagott" initials="SJ" userId="Sigi Jagott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8A8EA"/>
    <a:srgbClr val="59E6FD"/>
    <a:srgbClr val="003867"/>
    <a:srgbClr val="137BD1"/>
    <a:srgbClr val="253B5D"/>
    <a:srgbClr val="4154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E18257-6071-41E0-9F0A-95642F0E9805}" v="1" dt="2022-09-14T13:36:48.108"/>
    <p1510:client id="{22643C42-2543-4B76-9A50-FB6691A01FC4}" v="4" dt="2022-09-13T15:53:43.740"/>
    <p1510:client id="{CF2F8C21-3F81-42FB-B0AE-66B5D2E38A04}" v="3" dt="2022-09-14T08:31:26.87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2687" autoAdjust="0"/>
    <p:restoredTop sz="76699"/>
  </p:normalViewPr>
  <p:slideViewPr>
    <p:cSldViewPr snapToGrid="0">
      <p:cViewPr varScale="1">
        <p:scale>
          <a:sx n="66" d="100"/>
          <a:sy n="66" d="100"/>
        </p:scale>
        <p:origin x="32" y="3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47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tags" Target="tags/tag1.xml"/><Relationship Id="rId45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microsoft.com/office/2015/10/relationships/revisionInfo" Target="revisionInfo.xml"/><Relationship Id="rId20" Type="http://schemas.openxmlformats.org/officeDocument/2006/relationships/slide" Target="slides/slide16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22643C42-2543-4B76-9A50-FB6691A01FC4}"/>
    <pc:docChg chg="undo custSel addSld modSld sldOrd modSection">
      <pc:chgData name="Thomas Stensitzki" userId="75cafe6b-2f2a-469b-85c4-eec3b9c972ba" providerId="ADAL" clId="{22643C42-2543-4B76-9A50-FB6691A01FC4}" dt="2022-09-13T15:53:43.740" v="1534"/>
      <pc:docMkLst>
        <pc:docMk/>
      </pc:docMkLst>
      <pc:sldChg chg="addSp delSp modSp mod">
        <pc:chgData name="Thomas Stensitzki" userId="75cafe6b-2f2a-469b-85c4-eec3b9c972ba" providerId="ADAL" clId="{22643C42-2543-4B76-9A50-FB6691A01FC4}" dt="2022-09-13T15:52:29.706" v="1532" actId="207"/>
        <pc:sldMkLst>
          <pc:docMk/>
          <pc:sldMk cId="2924642773" sldId="2147469994"/>
        </pc:sldMkLst>
        <pc:spChg chg="del mod">
          <ac:chgData name="Thomas Stensitzki" userId="75cafe6b-2f2a-469b-85c4-eec3b9c972ba" providerId="ADAL" clId="{22643C42-2543-4B76-9A50-FB6691A01FC4}" dt="2022-09-13T15:48:40.753" v="1443" actId="478"/>
          <ac:spMkLst>
            <pc:docMk/>
            <pc:sldMk cId="2924642773" sldId="2147469994"/>
            <ac:spMk id="4" creationId="{7CE0874D-42AF-BACB-2D10-30B9018DEB94}"/>
          </ac:spMkLst>
        </pc:spChg>
        <pc:spChg chg="mod">
          <ac:chgData name="Thomas Stensitzki" userId="75cafe6b-2f2a-469b-85c4-eec3b9c972ba" providerId="ADAL" clId="{22643C42-2543-4B76-9A50-FB6691A01FC4}" dt="2022-09-13T15:52:29.706" v="1532" actId="207"/>
          <ac:spMkLst>
            <pc:docMk/>
            <pc:sldMk cId="2924642773" sldId="2147469994"/>
            <ac:spMk id="12" creationId="{CE4C7053-3762-E4B6-467B-C1EEC91ADE67}"/>
          </ac:spMkLst>
        </pc:spChg>
        <pc:grpChg chg="add mod">
          <ac:chgData name="Thomas Stensitzki" userId="75cafe6b-2f2a-469b-85c4-eec3b9c972ba" providerId="ADAL" clId="{22643C42-2543-4B76-9A50-FB6691A01FC4}" dt="2022-09-13T15:49:44.309" v="1446" actId="14826"/>
          <ac:grpSpMkLst>
            <pc:docMk/>
            <pc:sldMk cId="2924642773" sldId="2147469994"/>
            <ac:grpSpMk id="11" creationId="{D85D25DA-E9C2-E221-DC5E-CB36F74A1C61}"/>
          </ac:grpSpMkLst>
        </pc:grpChg>
        <pc:picChg chg="mod">
          <ac:chgData name="Thomas Stensitzki" userId="75cafe6b-2f2a-469b-85c4-eec3b9c972ba" providerId="ADAL" clId="{22643C42-2543-4B76-9A50-FB6691A01FC4}" dt="2022-09-13T15:49:48.234" v="1447" actId="1076"/>
          <ac:picMkLst>
            <pc:docMk/>
            <pc:sldMk cId="2924642773" sldId="2147469994"/>
            <ac:picMk id="13" creationId="{8D752618-46E5-4292-B0DC-353896049B55}"/>
          </ac:picMkLst>
        </pc:picChg>
        <pc:picChg chg="del mod">
          <ac:chgData name="Thomas Stensitzki" userId="75cafe6b-2f2a-469b-85c4-eec3b9c972ba" providerId="ADAL" clId="{22643C42-2543-4B76-9A50-FB6691A01FC4}" dt="2022-09-13T15:50:12.070" v="1474" actId="478"/>
          <ac:picMkLst>
            <pc:docMk/>
            <pc:sldMk cId="2924642773" sldId="2147469994"/>
            <ac:picMk id="14" creationId="{8D99CD1E-BB82-B631-E795-F2E0E18F40D7}"/>
          </ac:picMkLst>
        </pc:picChg>
      </pc:sldChg>
      <pc:sldChg chg="modNotesTx">
        <pc:chgData name="Thomas Stensitzki" userId="75cafe6b-2f2a-469b-85c4-eec3b9c972ba" providerId="ADAL" clId="{22643C42-2543-4B76-9A50-FB6691A01FC4}" dt="2022-09-09T12:48:22.294" v="1300" actId="20577"/>
        <pc:sldMkLst>
          <pc:docMk/>
          <pc:sldMk cId="948289294" sldId="2147469996"/>
        </pc:sldMkLst>
      </pc:sldChg>
      <pc:sldChg chg="addSp delSp modSp mod">
        <pc:chgData name="Thomas Stensitzki" userId="75cafe6b-2f2a-469b-85c4-eec3b9c972ba" providerId="ADAL" clId="{22643C42-2543-4B76-9A50-FB6691A01FC4}" dt="2022-09-13T15:53:43.740" v="1534"/>
        <pc:sldMkLst>
          <pc:docMk/>
          <pc:sldMk cId="1002109060" sldId="2147469999"/>
        </pc:sldMkLst>
        <pc:spChg chg="del">
          <ac:chgData name="Thomas Stensitzki" userId="75cafe6b-2f2a-469b-85c4-eec3b9c972ba" providerId="ADAL" clId="{22643C42-2543-4B76-9A50-FB6691A01FC4}" dt="2022-09-13T15:53:42.341" v="1533" actId="478"/>
          <ac:spMkLst>
            <pc:docMk/>
            <pc:sldMk cId="1002109060" sldId="2147469999"/>
            <ac:spMk id="8" creationId="{E55E240A-7B75-C099-ADFF-0D7C7FBC9B5C}"/>
          </ac:spMkLst>
        </pc:spChg>
        <pc:spChg chg="mod">
          <ac:chgData name="Thomas Stensitzki" userId="75cafe6b-2f2a-469b-85c4-eec3b9c972ba" providerId="ADAL" clId="{22643C42-2543-4B76-9A50-FB6691A01FC4}" dt="2022-09-13T15:53:43.740" v="1534"/>
          <ac:spMkLst>
            <pc:docMk/>
            <pc:sldMk cId="1002109060" sldId="2147469999"/>
            <ac:spMk id="13" creationId="{DE885274-F05F-345A-D987-94516F3ABFCB}"/>
          </ac:spMkLst>
        </pc:spChg>
        <pc:grpChg chg="add mod">
          <ac:chgData name="Thomas Stensitzki" userId="75cafe6b-2f2a-469b-85c4-eec3b9c972ba" providerId="ADAL" clId="{22643C42-2543-4B76-9A50-FB6691A01FC4}" dt="2022-09-13T15:53:43.740" v="1534"/>
          <ac:grpSpMkLst>
            <pc:docMk/>
            <pc:sldMk cId="1002109060" sldId="2147469999"/>
            <ac:grpSpMk id="12" creationId="{B1651A80-F1ED-F880-15D3-BCDB80E019E4}"/>
          </ac:grpSpMkLst>
        </pc:grpChg>
        <pc:picChg chg="mod">
          <ac:chgData name="Thomas Stensitzki" userId="75cafe6b-2f2a-469b-85c4-eec3b9c972ba" providerId="ADAL" clId="{22643C42-2543-4B76-9A50-FB6691A01FC4}" dt="2022-09-13T15:53:43.740" v="1534"/>
          <ac:picMkLst>
            <pc:docMk/>
            <pc:sldMk cId="1002109060" sldId="2147469999"/>
            <ac:picMk id="14" creationId="{1F6B8609-8807-09DE-FD6C-547A5C114BBD}"/>
          </ac:picMkLst>
        </pc:picChg>
      </pc:sldChg>
      <pc:sldChg chg="modSp mod modAnim delCm modCm">
        <pc:chgData name="Thomas Stensitzki" userId="75cafe6b-2f2a-469b-85c4-eec3b9c972ba" providerId="ADAL" clId="{22643C42-2543-4B76-9A50-FB6691A01FC4}" dt="2022-09-09T16:39:29.852" v="1416"/>
        <pc:sldMkLst>
          <pc:docMk/>
          <pc:sldMk cId="850533415" sldId="2147470001"/>
        </pc:sldMkLst>
        <pc:spChg chg="mod">
          <ac:chgData name="Thomas Stensitzki" userId="75cafe6b-2f2a-469b-85c4-eec3b9c972ba" providerId="ADAL" clId="{22643C42-2543-4B76-9A50-FB6691A01FC4}" dt="2022-09-09T07:44:32.363" v="1263" actId="20577"/>
          <ac:spMkLst>
            <pc:docMk/>
            <pc:sldMk cId="850533415" sldId="2147470001"/>
            <ac:spMk id="5" creationId="{8A260745-9B2D-414D-56A1-E59273CA8053}"/>
          </ac:spMkLst>
        </pc:spChg>
      </pc:sldChg>
      <pc:sldChg chg="modSp mod">
        <pc:chgData name="Thomas Stensitzki" userId="75cafe6b-2f2a-469b-85c4-eec3b9c972ba" providerId="ADAL" clId="{22643C42-2543-4B76-9A50-FB6691A01FC4}" dt="2022-09-09T13:00:04.968" v="1415" actId="20577"/>
        <pc:sldMkLst>
          <pc:docMk/>
          <pc:sldMk cId="2075355132" sldId="2147470002"/>
        </pc:sldMkLst>
        <pc:spChg chg="mod">
          <ac:chgData name="Thomas Stensitzki" userId="75cafe6b-2f2a-469b-85c4-eec3b9c972ba" providerId="ADAL" clId="{22643C42-2543-4B76-9A50-FB6691A01FC4}" dt="2022-09-09T13:00:04.968" v="1415" actId="20577"/>
          <ac:spMkLst>
            <pc:docMk/>
            <pc:sldMk cId="2075355132" sldId="2147470002"/>
            <ac:spMk id="3" creationId="{2030471A-DBA9-DA7F-E315-596A99F2774D}"/>
          </ac:spMkLst>
        </pc:spChg>
      </pc:sldChg>
      <pc:sldChg chg="modAnim">
        <pc:chgData name="Thomas Stensitzki" userId="75cafe6b-2f2a-469b-85c4-eec3b9c972ba" providerId="ADAL" clId="{22643C42-2543-4B76-9A50-FB6691A01FC4}" dt="2022-09-09T16:40:08.591" v="1425"/>
        <pc:sldMkLst>
          <pc:docMk/>
          <pc:sldMk cId="2807454091" sldId="2147470003"/>
        </pc:sldMkLst>
      </pc:sldChg>
      <pc:sldChg chg="modSp modAnim">
        <pc:chgData name="Thomas Stensitzki" userId="75cafe6b-2f2a-469b-85c4-eec3b9c972ba" providerId="ADAL" clId="{22643C42-2543-4B76-9A50-FB6691A01FC4}" dt="2022-09-09T16:39:48.195" v="1419"/>
        <pc:sldMkLst>
          <pc:docMk/>
          <pc:sldMk cId="1154972657" sldId="2147470006"/>
        </pc:sldMkLst>
        <pc:spChg chg="mod">
          <ac:chgData name="Thomas Stensitzki" userId="75cafe6b-2f2a-469b-85c4-eec3b9c972ba" providerId="ADAL" clId="{22643C42-2543-4B76-9A50-FB6691A01FC4}" dt="2022-09-08T07:53:39.752" v="907" actId="20577"/>
          <ac:spMkLst>
            <pc:docMk/>
            <pc:sldMk cId="1154972657" sldId="2147470006"/>
            <ac:spMk id="5" creationId="{8A260745-9B2D-414D-56A1-E59273CA8053}"/>
          </ac:spMkLst>
        </pc:spChg>
      </pc:sldChg>
      <pc:sldChg chg="modSp modAnim">
        <pc:chgData name="Thomas Stensitzki" userId="75cafe6b-2f2a-469b-85c4-eec3b9c972ba" providerId="ADAL" clId="{22643C42-2543-4B76-9A50-FB6691A01FC4}" dt="2022-09-09T16:40:42.393" v="1435"/>
        <pc:sldMkLst>
          <pc:docMk/>
          <pc:sldMk cId="1473011318" sldId="2147470008"/>
        </pc:sldMkLst>
        <pc:spChg chg="mod">
          <ac:chgData name="Thomas Stensitzki" userId="75cafe6b-2f2a-469b-85c4-eec3b9c972ba" providerId="ADAL" clId="{22643C42-2543-4B76-9A50-FB6691A01FC4}" dt="2022-09-08T08:07:48.634" v="994" actId="20577"/>
          <ac:spMkLst>
            <pc:docMk/>
            <pc:sldMk cId="1473011318" sldId="2147470008"/>
            <ac:spMk id="5" creationId="{8A260745-9B2D-414D-56A1-E59273CA8053}"/>
          </ac:spMkLst>
        </pc:spChg>
      </pc:sldChg>
      <pc:sldChg chg="modSp mod modAnim">
        <pc:chgData name="Thomas Stensitzki" userId="75cafe6b-2f2a-469b-85c4-eec3b9c972ba" providerId="ADAL" clId="{22643C42-2543-4B76-9A50-FB6691A01FC4}" dt="2022-09-09T16:40:11.497" v="1426"/>
        <pc:sldMkLst>
          <pc:docMk/>
          <pc:sldMk cId="234962032" sldId="2147470009"/>
        </pc:sldMkLst>
        <pc:spChg chg="mod">
          <ac:chgData name="Thomas Stensitzki" userId="75cafe6b-2f2a-469b-85c4-eec3b9c972ba" providerId="ADAL" clId="{22643C42-2543-4B76-9A50-FB6691A01FC4}" dt="2022-09-09T12:56:52.910" v="1346" actId="20577"/>
          <ac:spMkLst>
            <pc:docMk/>
            <pc:sldMk cId="234962032" sldId="2147470009"/>
            <ac:spMk id="2" creationId="{4C6B0AC2-B025-A989-29BA-1470A02C5A41}"/>
          </ac:spMkLst>
        </pc:spChg>
        <pc:spChg chg="mod">
          <ac:chgData name="Thomas Stensitzki" userId="75cafe6b-2f2a-469b-85c4-eec3b9c972ba" providerId="ADAL" clId="{22643C42-2543-4B76-9A50-FB6691A01FC4}" dt="2022-09-07T05:56:35.467" v="312" actId="20577"/>
          <ac:spMkLst>
            <pc:docMk/>
            <pc:sldMk cId="234962032" sldId="2147470009"/>
            <ac:spMk id="5" creationId="{8A260745-9B2D-414D-56A1-E59273CA8053}"/>
          </ac:spMkLst>
        </pc:spChg>
      </pc:sldChg>
      <pc:sldChg chg="modAnim">
        <pc:chgData name="Thomas Stensitzki" userId="75cafe6b-2f2a-469b-85c4-eec3b9c972ba" providerId="ADAL" clId="{22643C42-2543-4B76-9A50-FB6691A01FC4}" dt="2022-09-09T16:40:54.457" v="1439"/>
        <pc:sldMkLst>
          <pc:docMk/>
          <pc:sldMk cId="234765325" sldId="2147470010"/>
        </pc:sldMkLst>
      </pc:sldChg>
      <pc:sldChg chg="modAnim">
        <pc:chgData name="Thomas Stensitzki" userId="75cafe6b-2f2a-469b-85c4-eec3b9c972ba" providerId="ADAL" clId="{22643C42-2543-4B76-9A50-FB6691A01FC4}" dt="2022-09-09T16:41:01.059" v="1442"/>
        <pc:sldMkLst>
          <pc:docMk/>
          <pc:sldMk cId="2226377623" sldId="2147470011"/>
        </pc:sldMkLst>
      </pc:sldChg>
      <pc:sldChg chg="modAnim">
        <pc:chgData name="Thomas Stensitzki" userId="75cafe6b-2f2a-469b-85c4-eec3b9c972ba" providerId="ADAL" clId="{22643C42-2543-4B76-9A50-FB6691A01FC4}" dt="2022-09-09T16:39:55.831" v="1421"/>
        <pc:sldMkLst>
          <pc:docMk/>
          <pc:sldMk cId="1724960570" sldId="2147470012"/>
        </pc:sldMkLst>
      </pc:sldChg>
      <pc:sldChg chg="modSp mod modAnim">
        <pc:chgData name="Thomas Stensitzki" userId="75cafe6b-2f2a-469b-85c4-eec3b9c972ba" providerId="ADAL" clId="{22643C42-2543-4B76-9A50-FB6691A01FC4}" dt="2022-09-09T16:40:22.691" v="1430"/>
        <pc:sldMkLst>
          <pc:docMk/>
          <pc:sldMk cId="3523718426" sldId="2147470013"/>
        </pc:sldMkLst>
        <pc:spChg chg="mod">
          <ac:chgData name="Thomas Stensitzki" userId="75cafe6b-2f2a-469b-85c4-eec3b9c972ba" providerId="ADAL" clId="{22643C42-2543-4B76-9A50-FB6691A01FC4}" dt="2022-09-09T12:50:47.300" v="1327" actId="20577"/>
          <ac:spMkLst>
            <pc:docMk/>
            <pc:sldMk cId="3523718426" sldId="2147470013"/>
            <ac:spMk id="2" creationId="{4C6B0AC2-B025-A989-29BA-1470A02C5A41}"/>
          </ac:spMkLst>
        </pc:spChg>
      </pc:sldChg>
      <pc:sldChg chg="modSp mod modAnim">
        <pc:chgData name="Thomas Stensitzki" userId="75cafe6b-2f2a-469b-85c4-eec3b9c972ba" providerId="ADAL" clId="{22643C42-2543-4B76-9A50-FB6691A01FC4}" dt="2022-09-09T16:40:20.399" v="1429"/>
        <pc:sldMkLst>
          <pc:docMk/>
          <pc:sldMk cId="2939633036" sldId="2147470014"/>
        </pc:sldMkLst>
        <pc:spChg chg="mod">
          <ac:chgData name="Thomas Stensitzki" userId="75cafe6b-2f2a-469b-85c4-eec3b9c972ba" providerId="ADAL" clId="{22643C42-2543-4B76-9A50-FB6691A01FC4}" dt="2022-09-09T12:50:36.679" v="1309" actId="20577"/>
          <ac:spMkLst>
            <pc:docMk/>
            <pc:sldMk cId="2939633036" sldId="2147470014"/>
            <ac:spMk id="2" creationId="{4C6B0AC2-B025-A989-29BA-1470A02C5A41}"/>
          </ac:spMkLst>
        </pc:spChg>
      </pc:sldChg>
      <pc:sldChg chg="addSp modSp modAnim">
        <pc:chgData name="Thomas Stensitzki" userId="75cafe6b-2f2a-469b-85c4-eec3b9c972ba" providerId="ADAL" clId="{22643C42-2543-4B76-9A50-FB6691A01FC4}" dt="2022-09-09T16:39:40.390" v="1418"/>
        <pc:sldMkLst>
          <pc:docMk/>
          <pc:sldMk cId="265443972" sldId="2147470015"/>
        </pc:sldMkLst>
        <pc:spChg chg="mod">
          <ac:chgData name="Thomas Stensitzki" userId="75cafe6b-2f2a-469b-85c4-eec3b9c972ba" providerId="ADAL" clId="{22643C42-2543-4B76-9A50-FB6691A01FC4}" dt="2022-09-08T07:51:24.638" v="886" actId="164"/>
          <ac:spMkLst>
            <pc:docMk/>
            <pc:sldMk cId="265443972" sldId="2147470015"/>
            <ac:spMk id="3" creationId="{283BD80E-5E2F-EE46-AC03-D7227C881DDC}"/>
          </ac:spMkLst>
        </pc:spChg>
        <pc:spChg chg="mod">
          <ac:chgData name="Thomas Stensitzki" userId="75cafe6b-2f2a-469b-85c4-eec3b9c972ba" providerId="ADAL" clId="{22643C42-2543-4B76-9A50-FB6691A01FC4}" dt="2022-09-08T07:51:35.670" v="888" actId="164"/>
          <ac:spMkLst>
            <pc:docMk/>
            <pc:sldMk cId="265443972" sldId="2147470015"/>
            <ac:spMk id="10" creationId="{18A4D900-F647-03C4-250A-9904EC0F8750}"/>
          </ac:spMkLst>
        </pc:spChg>
        <pc:spChg chg="mod">
          <ac:chgData name="Thomas Stensitzki" userId="75cafe6b-2f2a-469b-85c4-eec3b9c972ba" providerId="ADAL" clId="{22643C42-2543-4B76-9A50-FB6691A01FC4}" dt="2022-09-08T07:51:47.447" v="890" actId="164"/>
          <ac:spMkLst>
            <pc:docMk/>
            <pc:sldMk cId="265443972" sldId="2147470015"/>
            <ac:spMk id="13" creationId="{15D214A0-DC8E-D32F-A842-A2BF09C59929}"/>
          </ac:spMkLst>
        </pc:spChg>
        <pc:spChg chg="mod">
          <ac:chgData name="Thomas Stensitzki" userId="75cafe6b-2f2a-469b-85c4-eec3b9c972ba" providerId="ADAL" clId="{22643C42-2543-4B76-9A50-FB6691A01FC4}" dt="2022-09-08T07:50:44.184" v="882" actId="164"/>
          <ac:spMkLst>
            <pc:docMk/>
            <pc:sldMk cId="265443972" sldId="2147470015"/>
            <ac:spMk id="14" creationId="{21091517-4936-ABFD-1E92-44CCC9397272}"/>
          </ac:spMkLst>
        </pc:spChg>
        <pc:spChg chg="mod">
          <ac:chgData name="Thomas Stensitzki" userId="75cafe6b-2f2a-469b-85c4-eec3b9c972ba" providerId="ADAL" clId="{22643C42-2543-4B76-9A50-FB6691A01FC4}" dt="2022-09-08T07:50:51.340" v="883" actId="164"/>
          <ac:spMkLst>
            <pc:docMk/>
            <pc:sldMk cId="265443972" sldId="2147470015"/>
            <ac:spMk id="16" creationId="{A3440FF0-534A-EFCB-142B-5AA17B78DAB0}"/>
          </ac:spMkLst>
        </pc:spChg>
        <pc:grpChg chg="add mod">
          <ac:chgData name="Thomas Stensitzki" userId="75cafe6b-2f2a-469b-85c4-eec3b9c972ba" providerId="ADAL" clId="{22643C42-2543-4B76-9A50-FB6691A01FC4}" dt="2022-09-08T07:51:11.507" v="885" actId="962"/>
          <ac:grpSpMkLst>
            <pc:docMk/>
            <pc:sldMk cId="265443972" sldId="2147470015"/>
            <ac:grpSpMk id="6" creationId="{589F1097-4CC4-9114-5FDA-FACB146D7CD1}"/>
          </ac:grpSpMkLst>
        </pc:grpChg>
        <pc:grpChg chg="add mod">
          <ac:chgData name="Thomas Stensitzki" userId="75cafe6b-2f2a-469b-85c4-eec3b9c972ba" providerId="ADAL" clId="{22643C42-2543-4B76-9A50-FB6691A01FC4}" dt="2022-09-08T07:51:06.017" v="884" actId="962"/>
          <ac:grpSpMkLst>
            <pc:docMk/>
            <pc:sldMk cId="265443972" sldId="2147470015"/>
            <ac:grpSpMk id="8" creationId="{A5BF92E6-4264-C5F2-C629-1E9E1A24CED5}"/>
          </ac:grpSpMkLst>
        </pc:grpChg>
        <pc:grpChg chg="add mod">
          <ac:chgData name="Thomas Stensitzki" userId="75cafe6b-2f2a-469b-85c4-eec3b9c972ba" providerId="ADAL" clId="{22643C42-2543-4B76-9A50-FB6691A01FC4}" dt="2022-09-08T07:51:30.381" v="887" actId="962"/>
          <ac:grpSpMkLst>
            <pc:docMk/>
            <pc:sldMk cId="265443972" sldId="2147470015"/>
            <ac:grpSpMk id="12" creationId="{3877079C-EECE-9ACF-9B5A-4246338F7897}"/>
          </ac:grpSpMkLst>
        </pc:grpChg>
        <pc:grpChg chg="add mod">
          <ac:chgData name="Thomas Stensitzki" userId="75cafe6b-2f2a-469b-85c4-eec3b9c972ba" providerId="ADAL" clId="{22643C42-2543-4B76-9A50-FB6691A01FC4}" dt="2022-09-08T07:51:42.933" v="889" actId="962"/>
          <ac:grpSpMkLst>
            <pc:docMk/>
            <pc:sldMk cId="265443972" sldId="2147470015"/>
            <ac:grpSpMk id="17" creationId="{1B822CC4-B4E4-6B72-39AD-D5B0262DD13C}"/>
          </ac:grpSpMkLst>
        </pc:grpChg>
        <pc:grpChg chg="add mod">
          <ac:chgData name="Thomas Stensitzki" userId="75cafe6b-2f2a-469b-85c4-eec3b9c972ba" providerId="ADAL" clId="{22643C42-2543-4B76-9A50-FB6691A01FC4}" dt="2022-09-08T07:51:53.694" v="891" actId="962"/>
          <ac:grpSpMkLst>
            <pc:docMk/>
            <pc:sldMk cId="265443972" sldId="2147470015"/>
            <ac:grpSpMk id="18" creationId="{5FDEF2EE-7486-4370-154A-0BD2D09FDAD8}"/>
          </ac:grpSpMkLst>
        </pc:grpChg>
        <pc:picChg chg="mod">
          <ac:chgData name="Thomas Stensitzki" userId="75cafe6b-2f2a-469b-85c4-eec3b9c972ba" providerId="ADAL" clId="{22643C42-2543-4B76-9A50-FB6691A01FC4}" dt="2022-09-08T07:51:47.447" v="890" actId="164"/>
          <ac:picMkLst>
            <pc:docMk/>
            <pc:sldMk cId="265443972" sldId="2147470015"/>
            <ac:picMk id="4" creationId="{A562E604-AFE7-E30F-56E6-406F86F72517}"/>
          </ac:picMkLst>
        </pc:picChg>
        <pc:picChg chg="mod">
          <ac:chgData name="Thomas Stensitzki" userId="75cafe6b-2f2a-469b-85c4-eec3b9c972ba" providerId="ADAL" clId="{22643C42-2543-4B76-9A50-FB6691A01FC4}" dt="2022-09-08T07:51:35.670" v="888" actId="164"/>
          <ac:picMkLst>
            <pc:docMk/>
            <pc:sldMk cId="265443972" sldId="2147470015"/>
            <ac:picMk id="7" creationId="{49DF100B-A91C-B829-D524-C81249CFC5EA}"/>
          </ac:picMkLst>
        </pc:picChg>
        <pc:picChg chg="mod">
          <ac:chgData name="Thomas Stensitzki" userId="75cafe6b-2f2a-469b-85c4-eec3b9c972ba" providerId="ADAL" clId="{22643C42-2543-4B76-9A50-FB6691A01FC4}" dt="2022-09-08T07:51:24.638" v="886" actId="164"/>
          <ac:picMkLst>
            <pc:docMk/>
            <pc:sldMk cId="265443972" sldId="2147470015"/>
            <ac:picMk id="9" creationId="{9AEB2A7A-DD30-258D-03CB-D65EFD0B0280}"/>
          </ac:picMkLst>
        </pc:picChg>
        <pc:cxnChg chg="mod">
          <ac:chgData name="Thomas Stensitzki" userId="75cafe6b-2f2a-469b-85c4-eec3b9c972ba" providerId="ADAL" clId="{22643C42-2543-4B76-9A50-FB6691A01FC4}" dt="2022-09-08T07:50:44.184" v="882" actId="164"/>
          <ac:cxnSpMkLst>
            <pc:docMk/>
            <pc:sldMk cId="265443972" sldId="2147470015"/>
            <ac:cxnSpMk id="11" creationId="{4B187DBF-C9C8-A6C5-5691-91492D8B1BD2}"/>
          </ac:cxnSpMkLst>
        </pc:cxnChg>
        <pc:cxnChg chg="mod">
          <ac:chgData name="Thomas Stensitzki" userId="75cafe6b-2f2a-469b-85c4-eec3b9c972ba" providerId="ADAL" clId="{22643C42-2543-4B76-9A50-FB6691A01FC4}" dt="2022-09-08T07:50:51.340" v="883" actId="164"/>
          <ac:cxnSpMkLst>
            <pc:docMk/>
            <pc:sldMk cId="265443972" sldId="2147470015"/>
            <ac:cxnSpMk id="15" creationId="{9F8650F6-B44B-A6A1-934C-A39D962A1424}"/>
          </ac:cxnSpMkLst>
        </pc:cxnChg>
      </pc:sldChg>
      <pc:sldChg chg="addSp delSp modSp mod addAnim delAnim modAnim">
        <pc:chgData name="Thomas Stensitzki" userId="75cafe6b-2f2a-469b-85c4-eec3b9c972ba" providerId="ADAL" clId="{22643C42-2543-4B76-9A50-FB6691A01FC4}" dt="2022-09-09T16:40:04.411" v="1424"/>
        <pc:sldMkLst>
          <pc:docMk/>
          <pc:sldMk cId="1858799246" sldId="2147470016"/>
        </pc:sldMkLst>
        <pc:spChg chg="add del">
          <ac:chgData name="Thomas Stensitzki" userId="75cafe6b-2f2a-469b-85c4-eec3b9c972ba" providerId="ADAL" clId="{22643C42-2543-4B76-9A50-FB6691A01FC4}" dt="2022-09-09T16:40:01.573" v="1423" actId="478"/>
          <ac:spMkLst>
            <pc:docMk/>
            <pc:sldMk cId="1858799246" sldId="2147470016"/>
            <ac:spMk id="2" creationId="{4C6B0AC2-B025-A989-29BA-1470A02C5A41}"/>
          </ac:spMkLst>
        </pc:spChg>
        <pc:spChg chg="add del mod">
          <ac:chgData name="Thomas Stensitzki" userId="75cafe6b-2f2a-469b-85c4-eec3b9c972ba" providerId="ADAL" clId="{22643C42-2543-4B76-9A50-FB6691A01FC4}" dt="2022-09-09T16:40:01.573" v="1423" actId="478"/>
          <ac:spMkLst>
            <pc:docMk/>
            <pc:sldMk cId="1858799246" sldId="2147470016"/>
            <ac:spMk id="4" creationId="{7214A944-4C85-86FA-2923-B3D76017C0FB}"/>
          </ac:spMkLst>
        </pc:spChg>
        <pc:spChg chg="add del mod">
          <ac:chgData name="Thomas Stensitzki" userId="75cafe6b-2f2a-469b-85c4-eec3b9c972ba" providerId="ADAL" clId="{22643C42-2543-4B76-9A50-FB6691A01FC4}" dt="2022-09-09T16:40:01.573" v="1423" actId="478"/>
          <ac:spMkLst>
            <pc:docMk/>
            <pc:sldMk cId="1858799246" sldId="2147470016"/>
            <ac:spMk id="5" creationId="{8A260745-9B2D-414D-56A1-E59273CA8053}"/>
          </ac:spMkLst>
        </pc:spChg>
        <pc:spChg chg="add del mod">
          <ac:chgData name="Thomas Stensitzki" userId="75cafe6b-2f2a-469b-85c4-eec3b9c972ba" providerId="ADAL" clId="{22643C42-2543-4B76-9A50-FB6691A01FC4}" dt="2022-09-09T16:40:01.573" v="1423" actId="478"/>
          <ac:spMkLst>
            <pc:docMk/>
            <pc:sldMk cId="1858799246" sldId="2147470016"/>
            <ac:spMk id="7" creationId="{3845A912-7489-5994-1240-1A04EBD46674}"/>
          </ac:spMkLst>
        </pc:spChg>
      </pc:sldChg>
      <pc:sldChg chg="modSp ord modAnim">
        <pc:chgData name="Thomas Stensitzki" userId="75cafe6b-2f2a-469b-85c4-eec3b9c972ba" providerId="ADAL" clId="{22643C42-2543-4B76-9A50-FB6691A01FC4}" dt="2022-09-09T16:40:18.003" v="1428"/>
        <pc:sldMkLst>
          <pc:docMk/>
          <pc:sldMk cId="3058860187" sldId="2147470017"/>
        </pc:sldMkLst>
        <pc:spChg chg="mod">
          <ac:chgData name="Thomas Stensitzki" userId="75cafe6b-2f2a-469b-85c4-eec3b9c972ba" providerId="ADAL" clId="{22643C42-2543-4B76-9A50-FB6691A01FC4}" dt="2022-09-08T08:07:27.578" v="991" actId="113"/>
          <ac:spMkLst>
            <pc:docMk/>
            <pc:sldMk cId="3058860187" sldId="2147470017"/>
            <ac:spMk id="15" creationId="{ED871452-B14F-7E5B-268B-552A5D3C30B6}"/>
          </ac:spMkLst>
        </pc:spChg>
      </pc:sldChg>
      <pc:sldChg chg="modSp mod">
        <pc:chgData name="Thomas Stensitzki" userId="75cafe6b-2f2a-469b-85c4-eec3b9c972ba" providerId="ADAL" clId="{22643C42-2543-4B76-9A50-FB6691A01FC4}" dt="2022-09-08T13:56:58.317" v="1154" actId="6549"/>
        <pc:sldMkLst>
          <pc:docMk/>
          <pc:sldMk cId="1185588702" sldId="2147470018"/>
        </pc:sldMkLst>
        <pc:spChg chg="mod">
          <ac:chgData name="Thomas Stensitzki" userId="75cafe6b-2f2a-469b-85c4-eec3b9c972ba" providerId="ADAL" clId="{22643C42-2543-4B76-9A50-FB6691A01FC4}" dt="2022-09-08T13:56:58.317" v="1154" actId="6549"/>
          <ac:spMkLst>
            <pc:docMk/>
            <pc:sldMk cId="1185588702" sldId="2147470018"/>
            <ac:spMk id="6" creationId="{BB67A1B6-8D46-D83C-1699-8C64492F52F2}"/>
          </ac:spMkLst>
        </pc:spChg>
      </pc:sldChg>
      <pc:sldChg chg="addSp modSp modAnim">
        <pc:chgData name="Thomas Stensitzki" userId="75cafe6b-2f2a-469b-85c4-eec3b9c972ba" providerId="ADAL" clId="{22643C42-2543-4B76-9A50-FB6691A01FC4}" dt="2022-09-09T16:40:48.700" v="1437"/>
        <pc:sldMkLst>
          <pc:docMk/>
          <pc:sldMk cId="2143166921" sldId="2147470019"/>
        </pc:sldMkLst>
        <pc:spChg chg="mod">
          <ac:chgData name="Thomas Stensitzki" userId="75cafe6b-2f2a-469b-85c4-eec3b9c972ba" providerId="ADAL" clId="{22643C42-2543-4B76-9A50-FB6691A01FC4}" dt="2022-09-08T08:16:37.733" v="1095" actId="164"/>
          <ac:spMkLst>
            <pc:docMk/>
            <pc:sldMk cId="2143166921" sldId="2147470019"/>
            <ac:spMk id="4" creationId="{5C2CDC46-D40D-683D-1CED-5E90BE9A4360}"/>
          </ac:spMkLst>
        </pc:spChg>
        <pc:spChg chg="mod">
          <ac:chgData name="Thomas Stensitzki" userId="75cafe6b-2f2a-469b-85c4-eec3b9c972ba" providerId="ADAL" clId="{22643C42-2543-4B76-9A50-FB6691A01FC4}" dt="2022-09-08T08:16:51.737" v="1097" actId="164"/>
          <ac:spMkLst>
            <pc:docMk/>
            <pc:sldMk cId="2143166921" sldId="2147470019"/>
            <ac:spMk id="6" creationId="{9AC5BBCA-D49F-B578-A6BE-D56B645673B1}"/>
          </ac:spMkLst>
        </pc:spChg>
        <pc:spChg chg="mod">
          <ac:chgData name="Thomas Stensitzki" userId="75cafe6b-2f2a-469b-85c4-eec3b9c972ba" providerId="ADAL" clId="{22643C42-2543-4B76-9A50-FB6691A01FC4}" dt="2022-09-08T08:16:44.658" v="1096" actId="164"/>
          <ac:spMkLst>
            <pc:docMk/>
            <pc:sldMk cId="2143166921" sldId="2147470019"/>
            <ac:spMk id="13" creationId="{156FFA64-D16B-8E93-C8A6-FC01FAD60792}"/>
          </ac:spMkLst>
        </pc:spChg>
        <pc:grpChg chg="add mod">
          <ac:chgData name="Thomas Stensitzki" userId="75cafe6b-2f2a-469b-85c4-eec3b9c972ba" providerId="ADAL" clId="{22643C42-2543-4B76-9A50-FB6691A01FC4}" dt="2022-09-08T08:16:37.733" v="1095" actId="164"/>
          <ac:grpSpMkLst>
            <pc:docMk/>
            <pc:sldMk cId="2143166921" sldId="2147470019"/>
            <ac:grpSpMk id="5" creationId="{43B15675-5796-D98C-D02C-82EBACECC616}"/>
          </ac:grpSpMkLst>
        </pc:grpChg>
        <pc:grpChg chg="add mod">
          <ac:chgData name="Thomas Stensitzki" userId="75cafe6b-2f2a-469b-85c4-eec3b9c972ba" providerId="ADAL" clId="{22643C42-2543-4B76-9A50-FB6691A01FC4}" dt="2022-09-08T08:16:44.658" v="1096" actId="164"/>
          <ac:grpSpMkLst>
            <pc:docMk/>
            <pc:sldMk cId="2143166921" sldId="2147470019"/>
            <ac:grpSpMk id="11" creationId="{159832E3-DA32-17C3-3C18-05704A78F91C}"/>
          </ac:grpSpMkLst>
        </pc:grpChg>
        <pc:grpChg chg="add mod">
          <ac:chgData name="Thomas Stensitzki" userId="75cafe6b-2f2a-469b-85c4-eec3b9c972ba" providerId="ADAL" clId="{22643C42-2543-4B76-9A50-FB6691A01FC4}" dt="2022-09-08T08:16:51.737" v="1097" actId="164"/>
          <ac:grpSpMkLst>
            <pc:docMk/>
            <pc:sldMk cId="2143166921" sldId="2147470019"/>
            <ac:grpSpMk id="14" creationId="{3652B8C2-00E6-CFC1-7102-83914ECA9166}"/>
          </ac:grpSpMkLst>
        </pc:grpChg>
        <pc:picChg chg="mod">
          <ac:chgData name="Thomas Stensitzki" userId="75cafe6b-2f2a-469b-85c4-eec3b9c972ba" providerId="ADAL" clId="{22643C42-2543-4B76-9A50-FB6691A01FC4}" dt="2022-09-08T08:16:51.737" v="1097" actId="164"/>
          <ac:picMkLst>
            <pc:docMk/>
            <pc:sldMk cId="2143166921" sldId="2147470019"/>
            <ac:picMk id="9" creationId="{69219512-2E39-59FB-F33E-8A644A2456EE}"/>
          </ac:picMkLst>
        </pc:picChg>
        <pc:picChg chg="mod">
          <ac:chgData name="Thomas Stensitzki" userId="75cafe6b-2f2a-469b-85c4-eec3b9c972ba" providerId="ADAL" clId="{22643C42-2543-4B76-9A50-FB6691A01FC4}" dt="2022-09-08T08:16:37.733" v="1095" actId="164"/>
          <ac:picMkLst>
            <pc:docMk/>
            <pc:sldMk cId="2143166921" sldId="2147470019"/>
            <ac:picMk id="10" creationId="{EC248E44-5F08-6C84-B70E-C360A8BA952C}"/>
          </ac:picMkLst>
        </pc:picChg>
        <pc:picChg chg="mod">
          <ac:chgData name="Thomas Stensitzki" userId="75cafe6b-2f2a-469b-85c4-eec3b9c972ba" providerId="ADAL" clId="{22643C42-2543-4B76-9A50-FB6691A01FC4}" dt="2022-09-08T08:16:44.658" v="1096" actId="164"/>
          <ac:picMkLst>
            <pc:docMk/>
            <pc:sldMk cId="2143166921" sldId="2147470019"/>
            <ac:picMk id="12" creationId="{335D9D51-220A-5A41-DEBB-3809364B82C3}"/>
          </ac:picMkLst>
        </pc:picChg>
      </pc:sldChg>
      <pc:sldChg chg="modSp mod modNotesTx">
        <pc:chgData name="Thomas Stensitzki" userId="75cafe6b-2f2a-469b-85c4-eec3b9c972ba" providerId="ADAL" clId="{22643C42-2543-4B76-9A50-FB6691A01FC4}" dt="2022-09-08T08:39:23.232" v="1152"/>
        <pc:sldMkLst>
          <pc:docMk/>
          <pc:sldMk cId="3809413378" sldId="2147470021"/>
        </pc:sldMkLst>
        <pc:spChg chg="mod">
          <ac:chgData name="Thomas Stensitzki" userId="75cafe6b-2f2a-469b-85c4-eec3b9c972ba" providerId="ADAL" clId="{22643C42-2543-4B76-9A50-FB6691A01FC4}" dt="2022-09-08T08:39:23.232" v="1152"/>
          <ac:spMkLst>
            <pc:docMk/>
            <pc:sldMk cId="3809413378" sldId="2147470021"/>
            <ac:spMk id="3" creationId="{8A8627BE-01A5-2F2C-62DD-9958265C1243}"/>
          </ac:spMkLst>
        </pc:spChg>
      </pc:sldChg>
      <pc:sldChg chg="modSp modAnim">
        <pc:chgData name="Thomas Stensitzki" userId="75cafe6b-2f2a-469b-85c4-eec3b9c972ba" providerId="ADAL" clId="{22643C42-2543-4B76-9A50-FB6691A01FC4}" dt="2022-09-09T16:40:52.183" v="1438"/>
        <pc:sldMkLst>
          <pc:docMk/>
          <pc:sldMk cId="189657053" sldId="2147470022"/>
        </pc:sldMkLst>
        <pc:spChg chg="mod">
          <ac:chgData name="Thomas Stensitzki" userId="75cafe6b-2f2a-469b-85c4-eec3b9c972ba" providerId="ADAL" clId="{22643C42-2543-4B76-9A50-FB6691A01FC4}" dt="2022-09-08T08:35:03.271" v="1139" actId="6549"/>
          <ac:spMkLst>
            <pc:docMk/>
            <pc:sldMk cId="189657053" sldId="2147470022"/>
            <ac:spMk id="5" creationId="{8A260745-9B2D-414D-56A1-E59273CA8053}"/>
          </ac:spMkLst>
        </pc:spChg>
      </pc:sldChg>
      <pc:sldChg chg="modAnim">
        <pc:chgData name="Thomas Stensitzki" userId="75cafe6b-2f2a-469b-85c4-eec3b9c972ba" providerId="ADAL" clId="{22643C42-2543-4B76-9A50-FB6691A01FC4}" dt="2022-09-09T16:40:56.769" v="1440"/>
        <pc:sldMkLst>
          <pc:docMk/>
          <pc:sldMk cId="119372799" sldId="2147470023"/>
        </pc:sldMkLst>
      </pc:sldChg>
      <pc:sldChg chg="modAnim">
        <pc:chgData name="Thomas Stensitzki" userId="75cafe6b-2f2a-469b-85c4-eec3b9c972ba" providerId="ADAL" clId="{22643C42-2543-4B76-9A50-FB6691A01FC4}" dt="2022-09-09T16:40:25.117" v="1431"/>
        <pc:sldMkLst>
          <pc:docMk/>
          <pc:sldMk cId="2590057525" sldId="2147470024"/>
        </pc:sldMkLst>
      </pc:sldChg>
      <pc:sldChg chg="modAnim delCm modCm">
        <pc:chgData name="Thomas Stensitzki" userId="75cafe6b-2f2a-469b-85c4-eec3b9c972ba" providerId="ADAL" clId="{22643C42-2543-4B76-9A50-FB6691A01FC4}" dt="2022-09-09T16:40:37.846" v="1433"/>
        <pc:sldMkLst>
          <pc:docMk/>
          <pc:sldMk cId="3470787833" sldId="2147470025"/>
        </pc:sldMkLst>
      </pc:sldChg>
      <pc:sldChg chg="modSp mod modAnim modNotesTx">
        <pc:chgData name="Thomas Stensitzki" userId="75cafe6b-2f2a-469b-85c4-eec3b9c972ba" providerId="ADAL" clId="{22643C42-2543-4B76-9A50-FB6691A01FC4}" dt="2022-09-09T16:40:15.235" v="1427"/>
        <pc:sldMkLst>
          <pc:docMk/>
          <pc:sldMk cId="1500611781" sldId="2147470026"/>
        </pc:sldMkLst>
        <pc:spChg chg="mod">
          <ac:chgData name="Thomas Stensitzki" userId="75cafe6b-2f2a-469b-85c4-eec3b9c972ba" providerId="ADAL" clId="{22643C42-2543-4B76-9A50-FB6691A01FC4}" dt="2022-09-07T05:57:02.673" v="319" actId="6549"/>
          <ac:spMkLst>
            <pc:docMk/>
            <pc:sldMk cId="1500611781" sldId="2147470026"/>
            <ac:spMk id="5" creationId="{8A260745-9B2D-414D-56A1-E59273CA8053}"/>
          </ac:spMkLst>
        </pc:spChg>
      </pc:sldChg>
      <pc:sldChg chg="modAnim">
        <pc:chgData name="Thomas Stensitzki" userId="75cafe6b-2f2a-469b-85c4-eec3b9c972ba" providerId="ADAL" clId="{22643C42-2543-4B76-9A50-FB6691A01FC4}" dt="2022-09-09T16:40:59.025" v="1441"/>
        <pc:sldMkLst>
          <pc:docMk/>
          <pc:sldMk cId="2811743522" sldId="2147470027"/>
        </pc:sldMkLst>
      </pc:sldChg>
      <pc:sldChg chg="modSp mod modAnim">
        <pc:chgData name="Thomas Stensitzki" userId="75cafe6b-2f2a-469b-85c4-eec3b9c972ba" providerId="ADAL" clId="{22643C42-2543-4B76-9A50-FB6691A01FC4}" dt="2022-09-09T16:39:34.733" v="1417"/>
        <pc:sldMkLst>
          <pc:docMk/>
          <pc:sldMk cId="2756858606" sldId="2147470028"/>
        </pc:sldMkLst>
        <pc:spChg chg="mod">
          <ac:chgData name="Thomas Stensitzki" userId="75cafe6b-2f2a-469b-85c4-eec3b9c972ba" providerId="ADAL" clId="{22643C42-2543-4B76-9A50-FB6691A01FC4}" dt="2022-09-08T05:39:12.764" v="733" actId="6549"/>
          <ac:spMkLst>
            <pc:docMk/>
            <pc:sldMk cId="2756858606" sldId="2147470028"/>
            <ac:spMk id="5" creationId="{8A260745-9B2D-414D-56A1-E59273CA8053}"/>
          </ac:spMkLst>
        </pc:spChg>
      </pc:sldChg>
      <pc:sldChg chg="modAnim">
        <pc:chgData name="Thomas Stensitzki" userId="75cafe6b-2f2a-469b-85c4-eec3b9c972ba" providerId="ADAL" clId="{22643C42-2543-4B76-9A50-FB6691A01FC4}" dt="2022-09-09T16:40:40.107" v="1434"/>
        <pc:sldMkLst>
          <pc:docMk/>
          <pc:sldMk cId="1075582345" sldId="2147470029"/>
        </pc:sldMkLst>
      </pc:sldChg>
      <pc:sldChg chg="addSp modSp mod modAnim">
        <pc:chgData name="Thomas Stensitzki" userId="75cafe6b-2f2a-469b-85c4-eec3b9c972ba" providerId="ADAL" clId="{22643C42-2543-4B76-9A50-FB6691A01FC4}" dt="2022-09-09T16:40:46.167" v="1436"/>
        <pc:sldMkLst>
          <pc:docMk/>
          <pc:sldMk cId="2305120761" sldId="2147470030"/>
        </pc:sldMkLst>
        <pc:spChg chg="add mod">
          <ac:chgData name="Thomas Stensitzki" userId="75cafe6b-2f2a-469b-85c4-eec3b9c972ba" providerId="ADAL" clId="{22643C42-2543-4B76-9A50-FB6691A01FC4}" dt="2022-09-08T08:13:50.882" v="1091" actId="164"/>
          <ac:spMkLst>
            <pc:docMk/>
            <pc:sldMk cId="2305120761" sldId="2147470030"/>
            <ac:spMk id="10" creationId="{E977205C-F1CC-FEEC-D322-F89ADE468839}"/>
          </ac:spMkLst>
        </pc:spChg>
        <pc:spChg chg="add mod">
          <ac:chgData name="Thomas Stensitzki" userId="75cafe6b-2f2a-469b-85c4-eec3b9c972ba" providerId="ADAL" clId="{22643C42-2543-4B76-9A50-FB6691A01FC4}" dt="2022-09-08T08:13:59.543" v="1092" actId="164"/>
          <ac:spMkLst>
            <pc:docMk/>
            <pc:sldMk cId="2305120761" sldId="2147470030"/>
            <ac:spMk id="11" creationId="{AC12B0A6-3219-301E-356E-013E609956F8}"/>
          </ac:spMkLst>
        </pc:spChg>
        <pc:grpChg chg="add mod">
          <ac:chgData name="Thomas Stensitzki" userId="75cafe6b-2f2a-469b-85c4-eec3b9c972ba" providerId="ADAL" clId="{22643C42-2543-4B76-9A50-FB6691A01FC4}" dt="2022-09-08T08:13:50.882" v="1091" actId="164"/>
          <ac:grpSpMkLst>
            <pc:docMk/>
            <pc:sldMk cId="2305120761" sldId="2147470030"/>
            <ac:grpSpMk id="12" creationId="{F27DFB55-940A-F0A4-21A6-60A22F105910}"/>
          </ac:grpSpMkLst>
        </pc:grpChg>
        <pc:grpChg chg="add mod">
          <ac:chgData name="Thomas Stensitzki" userId="75cafe6b-2f2a-469b-85c4-eec3b9c972ba" providerId="ADAL" clId="{22643C42-2543-4B76-9A50-FB6691A01FC4}" dt="2022-09-08T08:13:59.543" v="1092" actId="164"/>
          <ac:grpSpMkLst>
            <pc:docMk/>
            <pc:sldMk cId="2305120761" sldId="2147470030"/>
            <ac:grpSpMk id="13" creationId="{2BA123E9-5BE9-C40E-8FE4-853024F3DF53}"/>
          </ac:grpSpMkLst>
        </pc:grpChg>
        <pc:cxnChg chg="add mod">
          <ac:chgData name="Thomas Stensitzki" userId="75cafe6b-2f2a-469b-85c4-eec3b9c972ba" providerId="ADAL" clId="{22643C42-2543-4B76-9A50-FB6691A01FC4}" dt="2022-09-08T08:13:59.543" v="1092" actId="164"/>
          <ac:cxnSpMkLst>
            <pc:docMk/>
            <pc:sldMk cId="2305120761" sldId="2147470030"/>
            <ac:cxnSpMk id="3" creationId="{9AEA7A0E-8239-0317-9623-AD110E44AA6B}"/>
          </ac:cxnSpMkLst>
        </pc:cxnChg>
        <pc:cxnChg chg="add mod">
          <ac:chgData name="Thomas Stensitzki" userId="75cafe6b-2f2a-469b-85c4-eec3b9c972ba" providerId="ADAL" clId="{22643C42-2543-4B76-9A50-FB6691A01FC4}" dt="2022-09-08T08:13:50.882" v="1091" actId="164"/>
          <ac:cxnSpMkLst>
            <pc:docMk/>
            <pc:sldMk cId="2305120761" sldId="2147470030"/>
            <ac:cxnSpMk id="8" creationId="{C0D7D4C0-8739-E9DB-CE9F-A4BC3B25D128}"/>
          </ac:cxnSpMkLst>
        </pc:cxnChg>
      </pc:sldChg>
      <pc:sldChg chg="addSp delSp modSp new mod delAnim modAnim">
        <pc:chgData name="Thomas Stensitzki" userId="75cafe6b-2f2a-469b-85c4-eec3b9c972ba" providerId="ADAL" clId="{22643C42-2543-4B76-9A50-FB6691A01FC4}" dt="2022-09-09T16:39:52.137" v="1420"/>
        <pc:sldMkLst>
          <pc:docMk/>
          <pc:sldMk cId="185471827" sldId="2147470031"/>
        </pc:sldMkLst>
        <pc:spChg chg="mod">
          <ac:chgData name="Thomas Stensitzki" userId="75cafe6b-2f2a-469b-85c4-eec3b9c972ba" providerId="ADAL" clId="{22643C42-2543-4B76-9A50-FB6691A01FC4}" dt="2022-09-05T08:20:04.037" v="54" actId="6549"/>
          <ac:spMkLst>
            <pc:docMk/>
            <pc:sldMk cId="185471827" sldId="2147470031"/>
            <ac:spMk id="2" creationId="{35D024E0-DD0E-1256-7F82-596F81FEA375}"/>
          </ac:spMkLst>
        </pc:spChg>
        <pc:spChg chg="del">
          <ac:chgData name="Thomas Stensitzki" userId="75cafe6b-2f2a-469b-85c4-eec3b9c972ba" providerId="ADAL" clId="{22643C42-2543-4B76-9A50-FB6691A01FC4}" dt="2022-09-05T08:16:38.724" v="43" actId="478"/>
          <ac:spMkLst>
            <pc:docMk/>
            <pc:sldMk cId="185471827" sldId="2147470031"/>
            <ac:spMk id="3" creationId="{86B737A7-4969-E9D5-BE77-A03C1E0A2AE8}"/>
          </ac:spMkLst>
        </pc:spChg>
        <pc:spChg chg="add mod ord">
          <ac:chgData name="Thomas Stensitzki" userId="75cafe6b-2f2a-469b-85c4-eec3b9c972ba" providerId="ADAL" clId="{22643C42-2543-4B76-9A50-FB6691A01FC4}" dt="2022-09-08T07:45:29.040" v="787" actId="13244"/>
          <ac:spMkLst>
            <pc:docMk/>
            <pc:sldMk cId="185471827" sldId="2147470031"/>
            <ac:spMk id="10" creationId="{9408D6D9-C225-78CB-87B5-BA34295C2C1B}"/>
          </ac:spMkLst>
        </pc:spChg>
        <pc:spChg chg="add mod">
          <ac:chgData name="Thomas Stensitzki" userId="75cafe6b-2f2a-469b-85c4-eec3b9c972ba" providerId="ADAL" clId="{22643C42-2543-4B76-9A50-FB6691A01FC4}" dt="2022-09-08T07:45:15.464" v="784" actId="962"/>
          <ac:spMkLst>
            <pc:docMk/>
            <pc:sldMk cId="185471827" sldId="2147470031"/>
            <ac:spMk id="11" creationId="{2526A008-98D6-9FD7-5C3B-825A917F8025}"/>
          </ac:spMkLst>
        </pc:spChg>
        <pc:spChg chg="add mod">
          <ac:chgData name="Thomas Stensitzki" userId="75cafe6b-2f2a-469b-85c4-eec3b9c972ba" providerId="ADAL" clId="{22643C42-2543-4B76-9A50-FB6691A01FC4}" dt="2022-09-08T07:45:22.683" v="785" actId="962"/>
          <ac:spMkLst>
            <pc:docMk/>
            <pc:sldMk cId="185471827" sldId="2147470031"/>
            <ac:spMk id="12" creationId="{98A34E74-7DC5-9135-160F-69EA304E8EAF}"/>
          </ac:spMkLst>
        </pc:spChg>
        <pc:spChg chg="add mod">
          <ac:chgData name="Thomas Stensitzki" userId="75cafe6b-2f2a-469b-85c4-eec3b9c972ba" providerId="ADAL" clId="{22643C42-2543-4B76-9A50-FB6691A01FC4}" dt="2022-09-08T07:45:32.995" v="788" actId="962"/>
          <ac:spMkLst>
            <pc:docMk/>
            <pc:sldMk cId="185471827" sldId="2147470031"/>
            <ac:spMk id="13" creationId="{8BDF8194-4BF3-EFA3-012B-20796327A0CB}"/>
          </ac:spMkLst>
        </pc:spChg>
        <pc:spChg chg="add mod">
          <ac:chgData name="Thomas Stensitzki" userId="75cafe6b-2f2a-469b-85c4-eec3b9c972ba" providerId="ADAL" clId="{22643C42-2543-4B76-9A50-FB6691A01FC4}" dt="2022-09-08T07:45:37.363" v="789" actId="962"/>
          <ac:spMkLst>
            <pc:docMk/>
            <pc:sldMk cId="185471827" sldId="2147470031"/>
            <ac:spMk id="14" creationId="{8BBEDBFD-C3D8-48D2-1E39-5CBDFD89451F}"/>
          </ac:spMkLst>
        </pc:spChg>
        <pc:spChg chg="add mod">
          <ac:chgData name="Thomas Stensitzki" userId="75cafe6b-2f2a-469b-85c4-eec3b9c972ba" providerId="ADAL" clId="{22643C42-2543-4B76-9A50-FB6691A01FC4}" dt="2022-09-08T07:45:48.575" v="790" actId="962"/>
          <ac:spMkLst>
            <pc:docMk/>
            <pc:sldMk cId="185471827" sldId="2147470031"/>
            <ac:spMk id="15" creationId="{DA42A3E4-09A1-7DC1-0706-50CF5810A5BA}"/>
          </ac:spMkLst>
        </pc:spChg>
        <pc:spChg chg="add mod">
          <ac:chgData name="Thomas Stensitzki" userId="75cafe6b-2f2a-469b-85c4-eec3b9c972ba" providerId="ADAL" clId="{22643C42-2543-4B76-9A50-FB6691A01FC4}" dt="2022-09-08T07:45:04.731" v="783" actId="962"/>
          <ac:spMkLst>
            <pc:docMk/>
            <pc:sldMk cId="185471827" sldId="2147470031"/>
            <ac:spMk id="16" creationId="{0EFBD153-5837-3B7A-EB07-93A0FFE87298}"/>
          </ac:spMkLst>
        </pc:spChg>
        <pc:spChg chg="add del mod">
          <ac:chgData name="Thomas Stensitzki" userId="75cafe6b-2f2a-469b-85c4-eec3b9c972ba" providerId="ADAL" clId="{22643C42-2543-4B76-9A50-FB6691A01FC4}" dt="2022-09-05T08:20:01.630" v="49" actId="478"/>
          <ac:spMkLst>
            <pc:docMk/>
            <pc:sldMk cId="185471827" sldId="2147470031"/>
            <ac:spMk id="17" creationId="{09DDEC15-C248-DBAE-2692-88A2CF5BF818}"/>
          </ac:spMkLst>
        </pc:spChg>
        <pc:spChg chg="mod">
          <ac:chgData name="Thomas Stensitzki" userId="75cafe6b-2f2a-469b-85c4-eec3b9c972ba" providerId="ADAL" clId="{22643C42-2543-4B76-9A50-FB6691A01FC4}" dt="2022-09-05T08:19:34.282" v="44"/>
          <ac:spMkLst>
            <pc:docMk/>
            <pc:sldMk cId="185471827" sldId="2147470031"/>
            <ac:spMk id="20" creationId="{0657A9D8-B025-3417-674F-71702F46421D}"/>
          </ac:spMkLst>
        </pc:spChg>
        <pc:spChg chg="mod">
          <ac:chgData name="Thomas Stensitzki" userId="75cafe6b-2f2a-469b-85c4-eec3b9c972ba" providerId="ADAL" clId="{22643C42-2543-4B76-9A50-FB6691A01FC4}" dt="2022-09-05T08:20:56.445" v="120" actId="790"/>
          <ac:spMkLst>
            <pc:docMk/>
            <pc:sldMk cId="185471827" sldId="2147470031"/>
            <ac:spMk id="24" creationId="{73B08F5E-D9AF-3B31-6A20-DB450ED47C91}"/>
          </ac:spMkLst>
        </pc:spChg>
        <pc:spChg chg="mod">
          <ac:chgData name="Thomas Stensitzki" userId="75cafe6b-2f2a-469b-85c4-eec3b9c972ba" providerId="ADAL" clId="{22643C42-2543-4B76-9A50-FB6691A01FC4}" dt="2022-09-05T08:20:56.446" v="121" actId="790"/>
          <ac:spMkLst>
            <pc:docMk/>
            <pc:sldMk cId="185471827" sldId="2147470031"/>
            <ac:spMk id="29" creationId="{68766F19-6142-4B1B-7247-058F9855D14E}"/>
          </ac:spMkLst>
        </pc:spChg>
        <pc:spChg chg="mod">
          <ac:chgData name="Thomas Stensitzki" userId="75cafe6b-2f2a-469b-85c4-eec3b9c972ba" providerId="ADAL" clId="{22643C42-2543-4B76-9A50-FB6691A01FC4}" dt="2022-09-05T08:20:56.447" v="122" actId="790"/>
          <ac:spMkLst>
            <pc:docMk/>
            <pc:sldMk cId="185471827" sldId="2147470031"/>
            <ac:spMk id="34" creationId="{CE0843A8-9257-3BB4-1A28-CF4EF2E815A1}"/>
          </ac:spMkLst>
        </pc:spChg>
        <pc:spChg chg="add del mod">
          <ac:chgData name="Thomas Stensitzki" userId="75cafe6b-2f2a-469b-85c4-eec3b9c972ba" providerId="ADAL" clId="{22643C42-2543-4B76-9A50-FB6691A01FC4}" dt="2022-09-05T08:20:11.662" v="57" actId="478"/>
          <ac:spMkLst>
            <pc:docMk/>
            <pc:sldMk cId="185471827" sldId="2147470031"/>
            <ac:spMk id="38" creationId="{F1D92DC7-ADCB-8E60-BE9C-3CDCDBA99AE4}"/>
          </ac:spMkLst>
        </pc:spChg>
        <pc:spChg chg="mod">
          <ac:chgData name="Thomas Stensitzki" userId="75cafe6b-2f2a-469b-85c4-eec3b9c972ba" providerId="ADAL" clId="{22643C42-2543-4B76-9A50-FB6691A01FC4}" dt="2022-09-05T08:25:30.064" v="283" actId="1076"/>
          <ac:spMkLst>
            <pc:docMk/>
            <pc:sldMk cId="185471827" sldId="2147470031"/>
            <ac:spMk id="41" creationId="{C7637D99-2DC1-7B67-98F5-66516D7CA9D2}"/>
          </ac:spMkLst>
        </pc:spChg>
        <pc:spChg chg="mod">
          <ac:chgData name="Thomas Stensitzki" userId="75cafe6b-2f2a-469b-85c4-eec3b9c972ba" providerId="ADAL" clId="{22643C42-2543-4B76-9A50-FB6691A01FC4}" dt="2022-09-05T08:24:59.571" v="260" actId="20577"/>
          <ac:spMkLst>
            <pc:docMk/>
            <pc:sldMk cId="185471827" sldId="2147470031"/>
            <ac:spMk id="44" creationId="{751903D2-4848-1D34-A2E2-D419251D8939}"/>
          </ac:spMkLst>
        </pc:spChg>
        <pc:spChg chg="mod">
          <ac:chgData name="Thomas Stensitzki" userId="75cafe6b-2f2a-469b-85c4-eec3b9c972ba" providerId="ADAL" clId="{22643C42-2543-4B76-9A50-FB6691A01FC4}" dt="2022-09-05T08:26:54.313" v="311" actId="20577"/>
          <ac:spMkLst>
            <pc:docMk/>
            <pc:sldMk cId="185471827" sldId="2147470031"/>
            <ac:spMk id="47" creationId="{5B438199-8F91-E2F4-7FEB-1D13E551CE96}"/>
          </ac:spMkLst>
        </pc:spChg>
        <pc:spChg chg="add mod">
          <ac:chgData name="Thomas Stensitzki" userId="75cafe6b-2f2a-469b-85c4-eec3b9c972ba" providerId="ADAL" clId="{22643C42-2543-4B76-9A50-FB6691A01FC4}" dt="2022-09-08T07:59:32.818" v="968" actId="255"/>
          <ac:spMkLst>
            <pc:docMk/>
            <pc:sldMk cId="185471827" sldId="2147470031"/>
            <ac:spMk id="49" creationId="{F0BAF641-EFEF-6239-3F57-747D227FE873}"/>
          </ac:spMkLst>
        </pc:spChg>
        <pc:spChg chg="add mod">
          <ac:chgData name="Thomas Stensitzki" userId="75cafe6b-2f2a-469b-85c4-eec3b9c972ba" providerId="ADAL" clId="{22643C42-2543-4B76-9A50-FB6691A01FC4}" dt="2022-09-08T07:48:02.949" v="875" actId="20577"/>
          <ac:spMkLst>
            <pc:docMk/>
            <pc:sldMk cId="185471827" sldId="2147470031"/>
            <ac:spMk id="50" creationId="{559E3AFD-4B9F-2817-586B-4EF3C5BA9B38}"/>
          </ac:spMkLst>
        </pc:spChg>
        <pc:spChg chg="mod topLvl">
          <ac:chgData name="Thomas Stensitzki" userId="75cafe6b-2f2a-469b-85c4-eec3b9c972ba" providerId="ADAL" clId="{22643C42-2543-4B76-9A50-FB6691A01FC4}" dt="2022-09-08T07:58:12.165" v="961" actId="164"/>
          <ac:spMkLst>
            <pc:docMk/>
            <pc:sldMk cId="185471827" sldId="2147470031"/>
            <ac:spMk id="54" creationId="{336D5FFB-8ECF-E081-5BFF-C1830E186904}"/>
          </ac:spMkLst>
        </pc:spChg>
        <pc:spChg chg="mod topLvl">
          <ac:chgData name="Thomas Stensitzki" userId="75cafe6b-2f2a-469b-85c4-eec3b9c972ba" providerId="ADAL" clId="{22643C42-2543-4B76-9A50-FB6691A01FC4}" dt="2022-09-08T07:58:12.165" v="961" actId="164"/>
          <ac:spMkLst>
            <pc:docMk/>
            <pc:sldMk cId="185471827" sldId="2147470031"/>
            <ac:spMk id="55" creationId="{17665690-F639-B1CC-2F83-B5E5A4E38657}"/>
          </ac:spMkLst>
        </pc:spChg>
        <pc:grpChg chg="add mod">
          <ac:chgData name="Thomas Stensitzki" userId="75cafe6b-2f2a-469b-85c4-eec3b9c972ba" providerId="ADAL" clId="{22643C42-2543-4B76-9A50-FB6691A01FC4}" dt="2022-09-08T07:46:18.215" v="804" actId="1036"/>
          <ac:grpSpMkLst>
            <pc:docMk/>
            <pc:sldMk cId="185471827" sldId="2147470031"/>
            <ac:grpSpMk id="17" creationId="{30642AEB-CD6A-DEFC-8DCD-B2375BF492B7}"/>
          </ac:grpSpMkLst>
        </pc:grpChg>
        <pc:grpChg chg="add del mod">
          <ac:chgData name="Thomas Stensitzki" userId="75cafe6b-2f2a-469b-85c4-eec3b9c972ba" providerId="ADAL" clId="{22643C42-2543-4B76-9A50-FB6691A01FC4}" dt="2022-09-05T08:20:05.913" v="55" actId="478"/>
          <ac:grpSpMkLst>
            <pc:docMk/>
            <pc:sldMk cId="185471827" sldId="2147470031"/>
            <ac:grpSpMk id="18" creationId="{8F3ADE0F-5051-2578-2A17-65D7C07C690F}"/>
          </ac:grpSpMkLst>
        </pc:grpChg>
        <pc:grpChg chg="add mod">
          <ac:chgData name="Thomas Stensitzki" userId="75cafe6b-2f2a-469b-85c4-eec3b9c972ba" providerId="ADAL" clId="{22643C42-2543-4B76-9A50-FB6691A01FC4}" dt="2022-09-08T07:59:00.362" v="967" actId="1076"/>
          <ac:grpSpMkLst>
            <pc:docMk/>
            <pc:sldMk cId="185471827" sldId="2147470031"/>
            <ac:grpSpMk id="21" creationId="{E6CC0937-9933-403B-EA18-DD4B8A8FD83F}"/>
          </ac:grpSpMkLst>
        </pc:grpChg>
        <pc:grpChg chg="add mod">
          <ac:chgData name="Thomas Stensitzki" userId="75cafe6b-2f2a-469b-85c4-eec3b9c972ba" providerId="ADAL" clId="{22643C42-2543-4B76-9A50-FB6691A01FC4}" dt="2022-09-08T07:43:51.667" v="776" actId="962"/>
          <ac:grpSpMkLst>
            <pc:docMk/>
            <pc:sldMk cId="185471827" sldId="2147470031"/>
            <ac:grpSpMk id="22" creationId="{0111A3C4-9E8A-C789-FA90-D921C25CD54D}"/>
          </ac:grpSpMkLst>
        </pc:grpChg>
        <pc:grpChg chg="add mod">
          <ac:chgData name="Thomas Stensitzki" userId="75cafe6b-2f2a-469b-85c4-eec3b9c972ba" providerId="ADAL" clId="{22643C42-2543-4B76-9A50-FB6691A01FC4}" dt="2022-09-08T07:44:02.198" v="777" actId="962"/>
          <ac:grpSpMkLst>
            <pc:docMk/>
            <pc:sldMk cId="185471827" sldId="2147470031"/>
            <ac:grpSpMk id="26" creationId="{572F338C-D46C-4E22-BEE3-F17ADC05FF13}"/>
          </ac:grpSpMkLst>
        </pc:grpChg>
        <pc:grpChg chg="add mod">
          <ac:chgData name="Thomas Stensitzki" userId="75cafe6b-2f2a-469b-85c4-eec3b9c972ba" providerId="ADAL" clId="{22643C42-2543-4B76-9A50-FB6691A01FC4}" dt="2022-09-08T07:44:10.185" v="778" actId="962"/>
          <ac:grpSpMkLst>
            <pc:docMk/>
            <pc:sldMk cId="185471827" sldId="2147470031"/>
            <ac:grpSpMk id="32" creationId="{FC3E363E-1E0F-6195-2456-EFADA46CBA9D}"/>
          </ac:grpSpMkLst>
        </pc:grpChg>
        <pc:grpChg chg="add mod">
          <ac:chgData name="Thomas Stensitzki" userId="75cafe6b-2f2a-469b-85c4-eec3b9c972ba" providerId="ADAL" clId="{22643C42-2543-4B76-9A50-FB6691A01FC4}" dt="2022-09-08T07:44:25.608" v="779" actId="962"/>
          <ac:grpSpMkLst>
            <pc:docMk/>
            <pc:sldMk cId="185471827" sldId="2147470031"/>
            <ac:grpSpMk id="39" creationId="{E7853184-C42E-F873-8561-7230DDA14CFE}"/>
          </ac:grpSpMkLst>
        </pc:grpChg>
        <pc:grpChg chg="add mod">
          <ac:chgData name="Thomas Stensitzki" userId="75cafe6b-2f2a-469b-85c4-eec3b9c972ba" providerId="ADAL" clId="{22643C42-2543-4B76-9A50-FB6691A01FC4}" dt="2022-09-08T07:44:34.075" v="780" actId="962"/>
          <ac:grpSpMkLst>
            <pc:docMk/>
            <pc:sldMk cId="185471827" sldId="2147470031"/>
            <ac:grpSpMk id="42" creationId="{755F9F83-611C-A609-D39C-B3A214DFB5E0}"/>
          </ac:grpSpMkLst>
        </pc:grpChg>
        <pc:grpChg chg="add mod">
          <ac:chgData name="Thomas Stensitzki" userId="75cafe6b-2f2a-469b-85c4-eec3b9c972ba" providerId="ADAL" clId="{22643C42-2543-4B76-9A50-FB6691A01FC4}" dt="2022-09-08T07:44:43.121" v="781" actId="962"/>
          <ac:grpSpMkLst>
            <pc:docMk/>
            <pc:sldMk cId="185471827" sldId="2147470031"/>
            <ac:grpSpMk id="45" creationId="{60E899F8-B2FB-D3E5-5711-76B2F9EE55F1}"/>
          </ac:grpSpMkLst>
        </pc:grpChg>
        <pc:grpChg chg="add del mod">
          <ac:chgData name="Thomas Stensitzki" userId="75cafe6b-2f2a-469b-85c4-eec3b9c972ba" providerId="ADAL" clId="{22643C42-2543-4B76-9A50-FB6691A01FC4}" dt="2022-09-08T07:56:00.242" v="911" actId="165"/>
          <ac:grpSpMkLst>
            <pc:docMk/>
            <pc:sldMk cId="185471827" sldId="2147470031"/>
            <ac:grpSpMk id="51" creationId="{5F2104AF-1AD1-84EC-6928-8164B98B8F00}"/>
          </ac:grpSpMkLst>
        </pc:grpChg>
        <pc:cxnChg chg="add mod">
          <ac:chgData name="Thomas Stensitzki" userId="75cafe6b-2f2a-469b-85c4-eec3b9c972ba" providerId="ADAL" clId="{22643C42-2543-4B76-9A50-FB6691A01FC4}" dt="2022-09-05T08:19:54.048" v="47" actId="1076"/>
          <ac:cxnSpMkLst>
            <pc:docMk/>
            <pc:sldMk cId="185471827" sldId="2147470031"/>
            <ac:cxnSpMk id="4" creationId="{D7272EA3-4152-D38C-E441-0198E55A7DB2}"/>
          </ac:cxnSpMkLst>
        </pc:cxnChg>
        <pc:cxnChg chg="add mod">
          <ac:chgData name="Thomas Stensitzki" userId="75cafe6b-2f2a-469b-85c4-eec3b9c972ba" providerId="ADAL" clId="{22643C42-2543-4B76-9A50-FB6691A01FC4}" dt="2022-09-05T08:19:54.048" v="47" actId="1076"/>
          <ac:cxnSpMkLst>
            <pc:docMk/>
            <pc:sldMk cId="185471827" sldId="2147470031"/>
            <ac:cxnSpMk id="5" creationId="{6B39D818-969D-0C81-1351-8CF840A6D15B}"/>
          </ac:cxnSpMkLst>
        </pc:cxnChg>
        <pc:cxnChg chg="add mod">
          <ac:chgData name="Thomas Stensitzki" userId="75cafe6b-2f2a-469b-85c4-eec3b9c972ba" providerId="ADAL" clId="{22643C42-2543-4B76-9A50-FB6691A01FC4}" dt="2022-09-05T08:19:54.048" v="47" actId="1076"/>
          <ac:cxnSpMkLst>
            <pc:docMk/>
            <pc:sldMk cId="185471827" sldId="2147470031"/>
            <ac:cxnSpMk id="6" creationId="{B8D71395-D385-3D3B-78C0-37C4D06332A9}"/>
          </ac:cxnSpMkLst>
        </pc:cxnChg>
        <pc:cxnChg chg="add mod">
          <ac:chgData name="Thomas Stensitzki" userId="75cafe6b-2f2a-469b-85c4-eec3b9c972ba" providerId="ADAL" clId="{22643C42-2543-4B76-9A50-FB6691A01FC4}" dt="2022-09-05T08:19:54.048" v="47" actId="1076"/>
          <ac:cxnSpMkLst>
            <pc:docMk/>
            <pc:sldMk cId="185471827" sldId="2147470031"/>
            <ac:cxnSpMk id="7" creationId="{1DC6A9BD-0F2C-6146-31D2-7B1E6E823D23}"/>
          </ac:cxnSpMkLst>
        </pc:cxnChg>
        <pc:cxnChg chg="add mod">
          <ac:chgData name="Thomas Stensitzki" userId="75cafe6b-2f2a-469b-85c4-eec3b9c972ba" providerId="ADAL" clId="{22643C42-2543-4B76-9A50-FB6691A01FC4}" dt="2022-09-05T08:19:54.048" v="47" actId="1076"/>
          <ac:cxnSpMkLst>
            <pc:docMk/>
            <pc:sldMk cId="185471827" sldId="2147470031"/>
            <ac:cxnSpMk id="8" creationId="{3089BF39-4AB3-8E54-B0DD-28295435839A}"/>
          </ac:cxnSpMkLst>
        </pc:cxnChg>
        <pc:cxnChg chg="add mod">
          <ac:chgData name="Thomas Stensitzki" userId="75cafe6b-2f2a-469b-85c4-eec3b9c972ba" providerId="ADAL" clId="{22643C42-2543-4B76-9A50-FB6691A01FC4}" dt="2022-09-05T08:19:54.048" v="47" actId="1076"/>
          <ac:cxnSpMkLst>
            <pc:docMk/>
            <pc:sldMk cId="185471827" sldId="2147470031"/>
            <ac:cxnSpMk id="9" creationId="{8B0E99CD-51DD-D66D-69CF-D6BE67D4A922}"/>
          </ac:cxnSpMkLst>
        </pc:cxnChg>
        <pc:cxnChg chg="mod">
          <ac:chgData name="Thomas Stensitzki" userId="75cafe6b-2f2a-469b-85c4-eec3b9c972ba" providerId="ADAL" clId="{22643C42-2543-4B76-9A50-FB6691A01FC4}" dt="2022-09-05T08:19:34.282" v="44"/>
          <ac:cxnSpMkLst>
            <pc:docMk/>
            <pc:sldMk cId="185471827" sldId="2147470031"/>
            <ac:cxnSpMk id="19" creationId="{0256B96C-F25D-E563-5C2E-A13DD0112773}"/>
          </ac:cxnSpMkLst>
        </pc:cxnChg>
        <pc:cxnChg chg="add del mod">
          <ac:chgData name="Thomas Stensitzki" userId="75cafe6b-2f2a-469b-85c4-eec3b9c972ba" providerId="ADAL" clId="{22643C42-2543-4B76-9A50-FB6691A01FC4}" dt="2022-09-05T08:20:10.048" v="56" actId="478"/>
          <ac:cxnSpMkLst>
            <pc:docMk/>
            <pc:sldMk cId="185471827" sldId="2147470031"/>
            <ac:cxnSpMk id="21" creationId="{70CE39B1-94CE-466E-0890-86FE22EB2C0B}"/>
          </ac:cxnSpMkLst>
        </pc:cxnChg>
        <pc:cxnChg chg="mod">
          <ac:chgData name="Thomas Stensitzki" userId="75cafe6b-2f2a-469b-85c4-eec3b9c972ba" providerId="ADAL" clId="{22643C42-2543-4B76-9A50-FB6691A01FC4}" dt="2022-09-05T08:19:34.282" v="44"/>
          <ac:cxnSpMkLst>
            <pc:docMk/>
            <pc:sldMk cId="185471827" sldId="2147470031"/>
            <ac:cxnSpMk id="23" creationId="{E7086130-38FC-780C-7F77-E1ACE7685F74}"/>
          </ac:cxnSpMkLst>
        </pc:cxnChg>
        <pc:cxnChg chg="mod">
          <ac:chgData name="Thomas Stensitzki" userId="75cafe6b-2f2a-469b-85c4-eec3b9c972ba" providerId="ADAL" clId="{22643C42-2543-4B76-9A50-FB6691A01FC4}" dt="2022-09-05T08:19:34.282" v="44"/>
          <ac:cxnSpMkLst>
            <pc:docMk/>
            <pc:sldMk cId="185471827" sldId="2147470031"/>
            <ac:cxnSpMk id="25" creationId="{2D09A453-273A-19BC-BF61-79C9808F9F24}"/>
          </ac:cxnSpMkLst>
        </pc:cxnChg>
        <pc:cxnChg chg="mod">
          <ac:chgData name="Thomas Stensitzki" userId="75cafe6b-2f2a-469b-85c4-eec3b9c972ba" providerId="ADAL" clId="{22643C42-2543-4B76-9A50-FB6691A01FC4}" dt="2022-09-05T08:19:34.282" v="44"/>
          <ac:cxnSpMkLst>
            <pc:docMk/>
            <pc:sldMk cId="185471827" sldId="2147470031"/>
            <ac:cxnSpMk id="27" creationId="{18BF4B90-4D78-4304-5523-AF68EFA3C592}"/>
          </ac:cxnSpMkLst>
        </pc:cxnChg>
        <pc:cxnChg chg="mod">
          <ac:chgData name="Thomas Stensitzki" userId="75cafe6b-2f2a-469b-85c4-eec3b9c972ba" providerId="ADAL" clId="{22643C42-2543-4B76-9A50-FB6691A01FC4}" dt="2022-09-05T08:19:34.282" v="44"/>
          <ac:cxnSpMkLst>
            <pc:docMk/>
            <pc:sldMk cId="185471827" sldId="2147470031"/>
            <ac:cxnSpMk id="28" creationId="{10CC8137-26B8-39C1-0331-C99AFE2BEB9E}"/>
          </ac:cxnSpMkLst>
        </pc:cxnChg>
        <pc:cxnChg chg="mod">
          <ac:chgData name="Thomas Stensitzki" userId="75cafe6b-2f2a-469b-85c4-eec3b9c972ba" providerId="ADAL" clId="{22643C42-2543-4B76-9A50-FB6691A01FC4}" dt="2022-09-05T08:19:34.282" v="44"/>
          <ac:cxnSpMkLst>
            <pc:docMk/>
            <pc:sldMk cId="185471827" sldId="2147470031"/>
            <ac:cxnSpMk id="30" creationId="{82E20262-BA20-AE7A-A71C-61A107B8525F}"/>
          </ac:cxnSpMkLst>
        </pc:cxnChg>
        <pc:cxnChg chg="mod">
          <ac:chgData name="Thomas Stensitzki" userId="75cafe6b-2f2a-469b-85c4-eec3b9c972ba" providerId="ADAL" clId="{22643C42-2543-4B76-9A50-FB6691A01FC4}" dt="2022-09-05T08:19:34.282" v="44"/>
          <ac:cxnSpMkLst>
            <pc:docMk/>
            <pc:sldMk cId="185471827" sldId="2147470031"/>
            <ac:cxnSpMk id="31" creationId="{72B85B8D-2CF8-F0E9-1E96-1F4D4DA22C64}"/>
          </ac:cxnSpMkLst>
        </pc:cxnChg>
        <pc:cxnChg chg="mod">
          <ac:chgData name="Thomas Stensitzki" userId="75cafe6b-2f2a-469b-85c4-eec3b9c972ba" providerId="ADAL" clId="{22643C42-2543-4B76-9A50-FB6691A01FC4}" dt="2022-09-05T08:19:34.282" v="44"/>
          <ac:cxnSpMkLst>
            <pc:docMk/>
            <pc:sldMk cId="185471827" sldId="2147470031"/>
            <ac:cxnSpMk id="33" creationId="{27E65C2E-7207-FA74-361B-6DC8448C8C1F}"/>
          </ac:cxnSpMkLst>
        </pc:cxnChg>
        <pc:cxnChg chg="mod">
          <ac:chgData name="Thomas Stensitzki" userId="75cafe6b-2f2a-469b-85c4-eec3b9c972ba" providerId="ADAL" clId="{22643C42-2543-4B76-9A50-FB6691A01FC4}" dt="2022-09-05T08:19:34.282" v="44"/>
          <ac:cxnSpMkLst>
            <pc:docMk/>
            <pc:sldMk cId="185471827" sldId="2147470031"/>
            <ac:cxnSpMk id="35" creationId="{E6C48787-4977-7DBC-7DA5-73EFCFC0748E}"/>
          </ac:cxnSpMkLst>
        </pc:cxnChg>
        <pc:cxnChg chg="mod">
          <ac:chgData name="Thomas Stensitzki" userId="75cafe6b-2f2a-469b-85c4-eec3b9c972ba" providerId="ADAL" clId="{22643C42-2543-4B76-9A50-FB6691A01FC4}" dt="2022-09-05T08:19:34.282" v="44"/>
          <ac:cxnSpMkLst>
            <pc:docMk/>
            <pc:sldMk cId="185471827" sldId="2147470031"/>
            <ac:cxnSpMk id="36" creationId="{62FDEAC3-0A55-4F9C-B984-8F276D248C44}"/>
          </ac:cxnSpMkLst>
        </pc:cxnChg>
        <pc:cxnChg chg="mod">
          <ac:chgData name="Thomas Stensitzki" userId="75cafe6b-2f2a-469b-85c4-eec3b9c972ba" providerId="ADAL" clId="{22643C42-2543-4B76-9A50-FB6691A01FC4}" dt="2022-09-05T08:19:34.282" v="44"/>
          <ac:cxnSpMkLst>
            <pc:docMk/>
            <pc:sldMk cId="185471827" sldId="2147470031"/>
            <ac:cxnSpMk id="37" creationId="{E6B2758E-8E07-49FE-588E-91BF6348E188}"/>
          </ac:cxnSpMkLst>
        </pc:cxnChg>
        <pc:cxnChg chg="mod">
          <ac:chgData name="Thomas Stensitzki" userId="75cafe6b-2f2a-469b-85c4-eec3b9c972ba" providerId="ADAL" clId="{22643C42-2543-4B76-9A50-FB6691A01FC4}" dt="2022-09-05T08:25:41.374" v="285" actId="14100"/>
          <ac:cxnSpMkLst>
            <pc:docMk/>
            <pc:sldMk cId="185471827" sldId="2147470031"/>
            <ac:cxnSpMk id="40" creationId="{50C80B2A-3508-0F10-C3EA-0B606CE1C81D}"/>
          </ac:cxnSpMkLst>
        </pc:cxnChg>
        <pc:cxnChg chg="mod">
          <ac:chgData name="Thomas Stensitzki" userId="75cafe6b-2f2a-469b-85c4-eec3b9c972ba" providerId="ADAL" clId="{22643C42-2543-4B76-9A50-FB6691A01FC4}" dt="2022-09-05T08:25:46.819" v="286" actId="14100"/>
          <ac:cxnSpMkLst>
            <pc:docMk/>
            <pc:sldMk cId="185471827" sldId="2147470031"/>
            <ac:cxnSpMk id="43" creationId="{AA3A03C8-792B-47EC-1E5E-7D6C6D1F6CD6}"/>
          </ac:cxnSpMkLst>
        </pc:cxnChg>
        <pc:cxnChg chg="mod">
          <ac:chgData name="Thomas Stensitzki" userId="75cafe6b-2f2a-469b-85c4-eec3b9c972ba" providerId="ADAL" clId="{22643C42-2543-4B76-9A50-FB6691A01FC4}" dt="2022-09-05T08:26:51.061" v="291" actId="20577"/>
          <ac:cxnSpMkLst>
            <pc:docMk/>
            <pc:sldMk cId="185471827" sldId="2147470031"/>
            <ac:cxnSpMk id="46" creationId="{0B16BC30-ABB5-A013-CE29-DEFF51EB52F8}"/>
          </ac:cxnSpMkLst>
        </pc:cxnChg>
        <pc:cxnChg chg="add mod">
          <ac:chgData name="Thomas Stensitzki" userId="75cafe6b-2f2a-469b-85c4-eec3b9c972ba" providerId="ADAL" clId="{22643C42-2543-4B76-9A50-FB6691A01FC4}" dt="2022-09-08T07:46:30.242" v="805" actId="14100"/>
          <ac:cxnSpMkLst>
            <pc:docMk/>
            <pc:sldMk cId="185471827" sldId="2147470031"/>
            <ac:cxnSpMk id="48" creationId="{F1F76D19-B08F-DDF7-074D-0F37D8AC54A9}"/>
          </ac:cxnSpMkLst>
        </pc:cxnChg>
        <pc:cxnChg chg="mod topLvl">
          <ac:chgData name="Thomas Stensitzki" userId="75cafe6b-2f2a-469b-85c4-eec3b9c972ba" providerId="ADAL" clId="{22643C42-2543-4B76-9A50-FB6691A01FC4}" dt="2022-09-08T07:58:12.165" v="961" actId="164"/>
          <ac:cxnSpMkLst>
            <pc:docMk/>
            <pc:sldMk cId="185471827" sldId="2147470031"/>
            <ac:cxnSpMk id="52" creationId="{CFDA12BE-1C5B-B348-9200-508B570B9AA4}"/>
          </ac:cxnSpMkLst>
        </pc:cxnChg>
        <pc:cxnChg chg="mod topLvl">
          <ac:chgData name="Thomas Stensitzki" userId="75cafe6b-2f2a-469b-85c4-eec3b9c972ba" providerId="ADAL" clId="{22643C42-2543-4B76-9A50-FB6691A01FC4}" dt="2022-09-08T07:58:12.165" v="961" actId="164"/>
          <ac:cxnSpMkLst>
            <pc:docMk/>
            <pc:sldMk cId="185471827" sldId="2147470031"/>
            <ac:cxnSpMk id="53" creationId="{DAB67EF9-337C-9DE7-C7B5-09989AF19379}"/>
          </ac:cxnSpMkLst>
        </pc:cxnChg>
      </pc:sldChg>
      <pc:sldChg chg="modSp add mod ord">
        <pc:chgData name="Thomas Stensitzki" userId="75cafe6b-2f2a-469b-85c4-eec3b9c972ba" providerId="ADAL" clId="{22643C42-2543-4B76-9A50-FB6691A01FC4}" dt="2022-09-09T12:58:11.047" v="1391" actId="20577"/>
        <pc:sldMkLst>
          <pc:docMk/>
          <pc:sldMk cId="3860982715" sldId="2147470032"/>
        </pc:sldMkLst>
        <pc:spChg chg="mod">
          <ac:chgData name="Thomas Stensitzki" userId="75cafe6b-2f2a-469b-85c4-eec3b9c972ba" providerId="ADAL" clId="{22643C42-2543-4B76-9A50-FB6691A01FC4}" dt="2022-09-09T12:58:11.047" v="1391" actId="20577"/>
          <ac:spMkLst>
            <pc:docMk/>
            <pc:sldMk cId="3860982715" sldId="2147470032"/>
            <ac:spMk id="3" creationId="{2030471A-DBA9-DA7F-E315-596A99F2774D}"/>
          </ac:spMkLst>
        </pc:spChg>
      </pc:sldChg>
    </pc:docChg>
  </pc:docChgLst>
  <pc:docChgLst>
    <pc:chgData name="Thomas Stensitzki" userId="75cafe6b-2f2a-469b-85c4-eec3b9c972ba" providerId="ADAL" clId="{D91A4310-FFA3-49CF-81D4-6E62CE1ACB5C}"/>
    <pc:docChg chg="undo custSel addSld delSld modSld sldOrd modSection">
      <pc:chgData name="Thomas Stensitzki" userId="75cafe6b-2f2a-469b-85c4-eec3b9c972ba" providerId="ADAL" clId="{D91A4310-FFA3-49CF-81D4-6E62CE1ACB5C}" dt="2022-08-27T11:54:10.440" v="5231" actId="3626"/>
      <pc:docMkLst>
        <pc:docMk/>
      </pc:docMkLst>
      <pc:sldChg chg="modSp mod modNotes">
        <pc:chgData name="Thomas Stensitzki" userId="75cafe6b-2f2a-469b-85c4-eec3b9c972ba" providerId="ADAL" clId="{D91A4310-FFA3-49CF-81D4-6E62CE1ACB5C}" dt="2022-08-22T14:27:41.282" v="1381" actId="790"/>
        <pc:sldMkLst>
          <pc:docMk/>
          <pc:sldMk cId="1758575945" sldId="2147469993"/>
        </pc:sldMkLst>
        <pc:spChg chg="mod">
          <ac:chgData name="Thomas Stensitzki" userId="75cafe6b-2f2a-469b-85c4-eec3b9c972ba" providerId="ADAL" clId="{D91A4310-FFA3-49CF-81D4-6E62CE1ACB5C}" dt="2022-08-22T14:27:41.274" v="1376" actId="790"/>
          <ac:spMkLst>
            <pc:docMk/>
            <pc:sldMk cId="1758575945" sldId="2147469993"/>
            <ac:spMk id="37" creationId="{D61A3FC1-C5E5-EB91-BEDA-7F688D8093D4}"/>
          </ac:spMkLst>
        </pc:spChg>
      </pc:sldChg>
      <pc:sldChg chg="modSp mod modNotes">
        <pc:chgData name="Thomas Stensitzki" userId="75cafe6b-2f2a-469b-85c4-eec3b9c972ba" providerId="ADAL" clId="{D91A4310-FFA3-49CF-81D4-6E62CE1ACB5C}" dt="2022-08-22T14:27:41.294" v="1389" actId="790"/>
        <pc:sldMkLst>
          <pc:docMk/>
          <pc:sldMk cId="2924642773" sldId="2147469994"/>
        </pc:sldMkLst>
        <pc:spChg chg="mod">
          <ac:chgData name="Thomas Stensitzki" userId="75cafe6b-2f2a-469b-85c4-eec3b9c972ba" providerId="ADAL" clId="{D91A4310-FFA3-49CF-81D4-6E62CE1ACB5C}" dt="2022-08-22T14:27:41.290" v="1384" actId="790"/>
          <ac:spMkLst>
            <pc:docMk/>
            <pc:sldMk cId="2924642773" sldId="2147469994"/>
            <ac:spMk id="4" creationId="{7CE0874D-42AF-BACB-2D10-30B9018DEB94}"/>
          </ac:spMkLst>
        </pc:spChg>
        <pc:spChg chg="mod">
          <ac:chgData name="Thomas Stensitzki" userId="75cafe6b-2f2a-469b-85c4-eec3b9c972ba" providerId="ADAL" clId="{D91A4310-FFA3-49CF-81D4-6E62CE1ACB5C}" dt="2022-08-22T14:27:41.285" v="1383" actId="790"/>
          <ac:spMkLst>
            <pc:docMk/>
            <pc:sldMk cId="2924642773" sldId="2147469994"/>
            <ac:spMk id="7" creationId="{844C2406-BDEB-79E2-1E9F-2EF156F3EEE9}"/>
          </ac:spMkLst>
        </pc:spChg>
        <pc:spChg chg="mod">
          <ac:chgData name="Thomas Stensitzki" userId="75cafe6b-2f2a-469b-85c4-eec3b9c972ba" providerId="ADAL" clId="{D91A4310-FFA3-49CF-81D4-6E62CE1ACB5C}" dt="2022-08-22T14:27:41.284" v="1382" actId="790"/>
          <ac:spMkLst>
            <pc:docMk/>
            <pc:sldMk cId="2924642773" sldId="2147469994"/>
            <ac:spMk id="27" creationId="{8FA1068C-23B7-33A8-C067-C92777069DAE}"/>
          </ac:spMkLst>
        </pc:spChg>
      </pc:sldChg>
      <pc:sldChg chg="modSp mod modNotes">
        <pc:chgData name="Thomas Stensitzki" userId="75cafe6b-2f2a-469b-85c4-eec3b9c972ba" providerId="ADAL" clId="{D91A4310-FFA3-49CF-81D4-6E62CE1ACB5C}" dt="2022-08-22T14:27:41.315" v="1404" actId="790"/>
        <pc:sldMkLst>
          <pc:docMk/>
          <pc:sldMk cId="948289294" sldId="2147469996"/>
        </pc:sldMkLst>
        <pc:spChg chg="mod">
          <ac:chgData name="Thomas Stensitzki" userId="75cafe6b-2f2a-469b-85c4-eec3b9c972ba" providerId="ADAL" clId="{D91A4310-FFA3-49CF-81D4-6E62CE1ACB5C}" dt="2022-08-22T14:27:41.313" v="1401" actId="790"/>
          <ac:spMkLst>
            <pc:docMk/>
            <pc:sldMk cId="948289294" sldId="2147469996"/>
            <ac:spMk id="3" creationId="{2030471A-DBA9-DA7F-E315-596A99F2774D}"/>
          </ac:spMkLst>
        </pc:spChg>
        <pc:spChg chg="mod">
          <ac:chgData name="Thomas Stensitzki" userId="75cafe6b-2f2a-469b-85c4-eec3b9c972ba" providerId="ADAL" clId="{D91A4310-FFA3-49CF-81D4-6E62CE1ACB5C}" dt="2022-08-22T14:27:41.314" v="1402" actId="790"/>
          <ac:spMkLst>
            <pc:docMk/>
            <pc:sldMk cId="948289294" sldId="2147469996"/>
            <ac:spMk id="4" creationId="{713B3D8E-0E41-9A95-471C-B34221FD7A77}"/>
          </ac:spMkLst>
        </pc:spChg>
      </pc:sldChg>
      <pc:sldChg chg="modSp mod modNotes">
        <pc:chgData name="Thomas Stensitzki" userId="75cafe6b-2f2a-469b-85c4-eec3b9c972ba" providerId="ADAL" clId="{D91A4310-FFA3-49CF-81D4-6E62CE1ACB5C}" dt="2022-08-22T14:27:41.499" v="1541" actId="790"/>
        <pc:sldMkLst>
          <pc:docMk/>
          <pc:sldMk cId="4152082236" sldId="2147469998"/>
        </pc:sldMkLst>
        <pc:spChg chg="mod">
          <ac:chgData name="Thomas Stensitzki" userId="75cafe6b-2f2a-469b-85c4-eec3b9c972ba" providerId="ADAL" clId="{D91A4310-FFA3-49CF-81D4-6E62CE1ACB5C}" dt="2022-08-22T14:27:41.496" v="1537" actId="790"/>
          <ac:spMkLst>
            <pc:docMk/>
            <pc:sldMk cId="4152082236" sldId="2147469998"/>
            <ac:spMk id="2" creationId="{4A9CDD81-305A-69CA-D2B7-CB68FCE153F1}"/>
          </ac:spMkLst>
        </pc:spChg>
        <pc:spChg chg="mod">
          <ac:chgData name="Thomas Stensitzki" userId="75cafe6b-2f2a-469b-85c4-eec3b9c972ba" providerId="ADAL" clId="{D91A4310-FFA3-49CF-81D4-6E62CE1ACB5C}" dt="2022-08-22T14:27:41.497" v="1538" actId="790"/>
          <ac:spMkLst>
            <pc:docMk/>
            <pc:sldMk cId="4152082236" sldId="2147469998"/>
            <ac:spMk id="3" creationId="{E7E05B39-2F49-C591-4372-7FFD3B181E4F}"/>
          </ac:spMkLst>
        </pc:spChg>
        <pc:spChg chg="mod">
          <ac:chgData name="Thomas Stensitzki" userId="75cafe6b-2f2a-469b-85c4-eec3b9c972ba" providerId="ADAL" clId="{D91A4310-FFA3-49CF-81D4-6E62CE1ACB5C}" dt="2022-08-22T14:27:41.498" v="1539" actId="790"/>
          <ac:spMkLst>
            <pc:docMk/>
            <pc:sldMk cId="4152082236" sldId="2147469998"/>
            <ac:spMk id="4" creationId="{4F3C9FD2-E8C9-CADD-158B-73A376034CD4}"/>
          </ac:spMkLst>
        </pc:spChg>
      </pc:sldChg>
      <pc:sldChg chg="addSp delSp modSp mod modNotes">
        <pc:chgData name="Thomas Stensitzki" userId="75cafe6b-2f2a-469b-85c4-eec3b9c972ba" providerId="ADAL" clId="{D91A4310-FFA3-49CF-81D4-6E62CE1ACB5C}" dt="2022-08-27T11:54:10.440" v="5231" actId="3626"/>
        <pc:sldMkLst>
          <pc:docMk/>
          <pc:sldMk cId="1002109060" sldId="2147469999"/>
        </pc:sldMkLst>
        <pc:spChg chg="mod">
          <ac:chgData name="Thomas Stensitzki" userId="75cafe6b-2f2a-469b-85c4-eec3b9c972ba" providerId="ADAL" clId="{D91A4310-FFA3-49CF-81D4-6E62CE1ACB5C}" dt="2022-08-22T14:27:41.489" v="1531" actId="790"/>
          <ac:spMkLst>
            <pc:docMk/>
            <pc:sldMk cId="1002109060" sldId="2147469999"/>
            <ac:spMk id="2" creationId="{D031B228-45E7-E9AE-3584-1EF02C0BF237}"/>
          </ac:spMkLst>
        </pc:spChg>
        <pc:spChg chg="mod">
          <ac:chgData name="Thomas Stensitzki" userId="75cafe6b-2f2a-469b-85c4-eec3b9c972ba" providerId="ADAL" clId="{D91A4310-FFA3-49CF-81D4-6E62CE1ACB5C}" dt="2022-08-22T14:27:41.491" v="1533" actId="790"/>
          <ac:spMkLst>
            <pc:docMk/>
            <pc:sldMk cId="1002109060" sldId="2147469999"/>
            <ac:spMk id="3" creationId="{78D36476-FA2C-C7BA-856B-46D1A376B099}"/>
          </ac:spMkLst>
        </pc:spChg>
        <pc:spChg chg="del mod">
          <ac:chgData name="Thomas Stensitzki" userId="75cafe6b-2f2a-469b-85c4-eec3b9c972ba" providerId="ADAL" clId="{D91A4310-FFA3-49CF-81D4-6E62CE1ACB5C}" dt="2022-08-22T13:05:22.295" v="869" actId="478"/>
          <ac:spMkLst>
            <pc:docMk/>
            <pc:sldMk cId="1002109060" sldId="2147469999"/>
            <ac:spMk id="5" creationId="{DBA4219B-E1D5-610E-FA30-2C8BDFC09371}"/>
          </ac:spMkLst>
        </pc:spChg>
        <pc:spChg chg="mod">
          <ac:chgData name="Thomas Stensitzki" userId="75cafe6b-2f2a-469b-85c4-eec3b9c972ba" providerId="ADAL" clId="{D91A4310-FFA3-49CF-81D4-6E62CE1ACB5C}" dt="2022-08-22T14:27:41.489" v="1532" actId="790"/>
          <ac:spMkLst>
            <pc:docMk/>
            <pc:sldMk cId="1002109060" sldId="2147469999"/>
            <ac:spMk id="6" creationId="{A54D0712-3C9F-A435-2D37-4C8A80C5A7EF}"/>
          </ac:spMkLst>
        </pc:spChg>
        <pc:spChg chg="add mod">
          <ac:chgData name="Thomas Stensitzki" userId="75cafe6b-2f2a-469b-85c4-eec3b9c972ba" providerId="ADAL" clId="{D91A4310-FFA3-49CF-81D4-6E62CE1ACB5C}" dt="2022-08-27T11:54:10.440" v="5231" actId="3626"/>
          <ac:spMkLst>
            <pc:docMk/>
            <pc:sldMk cId="1002109060" sldId="2147469999"/>
            <ac:spMk id="8" creationId="{E55E240A-7B75-C099-ADFF-0D7C7FBC9B5C}"/>
          </ac:spMkLst>
        </pc:spChg>
      </pc:sldChg>
      <pc:sldChg chg="modSp mod modNotes">
        <pc:chgData name="Thomas Stensitzki" userId="75cafe6b-2f2a-469b-85c4-eec3b9c972ba" providerId="ADAL" clId="{D91A4310-FFA3-49CF-81D4-6E62CE1ACB5C}" dt="2022-08-27T10:56:22.181" v="3746" actId="20577"/>
        <pc:sldMkLst>
          <pc:docMk/>
          <pc:sldMk cId="174943793" sldId="2147470000"/>
        </pc:sldMkLst>
        <pc:spChg chg="mod">
          <ac:chgData name="Thomas Stensitzki" userId="75cafe6b-2f2a-469b-85c4-eec3b9c972ba" providerId="ADAL" clId="{D91A4310-FFA3-49CF-81D4-6E62CE1ACB5C}" dt="2022-08-22T14:56:21.700" v="2579" actId="20577"/>
          <ac:spMkLst>
            <pc:docMk/>
            <pc:sldMk cId="174943793" sldId="2147470000"/>
            <ac:spMk id="4" creationId="{D00083A2-D83F-A486-6242-380967B76F7A}"/>
          </ac:spMkLst>
        </pc:spChg>
        <pc:spChg chg="mod">
          <ac:chgData name="Thomas Stensitzki" userId="75cafe6b-2f2a-469b-85c4-eec3b9c972ba" providerId="ADAL" clId="{D91A4310-FFA3-49CF-81D4-6E62CE1ACB5C}" dt="2022-08-27T10:56:22.181" v="3746" actId="20577"/>
          <ac:spMkLst>
            <pc:docMk/>
            <pc:sldMk cId="174943793" sldId="2147470000"/>
            <ac:spMk id="5" creationId="{A91CB57A-3D8C-B209-CE3B-5394AD4E5A73}"/>
          </ac:spMkLst>
        </pc:spChg>
      </pc:sldChg>
      <pc:sldChg chg="modSp mod modNotes">
        <pc:chgData name="Thomas Stensitzki" userId="75cafe6b-2f2a-469b-85c4-eec3b9c972ba" providerId="ADAL" clId="{D91A4310-FFA3-49CF-81D4-6E62CE1ACB5C}" dt="2022-08-22T14:54:57.456" v="2566" actId="20577"/>
        <pc:sldMkLst>
          <pc:docMk/>
          <pc:sldMk cId="850533415" sldId="2147470001"/>
        </pc:sldMkLst>
        <pc:spChg chg="mod">
          <ac:chgData name="Thomas Stensitzki" userId="75cafe6b-2f2a-469b-85c4-eec3b9c972ba" providerId="ADAL" clId="{D91A4310-FFA3-49CF-81D4-6E62CE1ACB5C}" dt="2022-08-22T14:27:41.316" v="1405" actId="790"/>
          <ac:spMkLst>
            <pc:docMk/>
            <pc:sldMk cId="850533415" sldId="2147470001"/>
            <ac:spMk id="2" creationId="{4C6B0AC2-B025-A989-29BA-1470A02C5A41}"/>
          </ac:spMkLst>
        </pc:spChg>
        <pc:spChg chg="mod">
          <ac:chgData name="Thomas Stensitzki" userId="75cafe6b-2f2a-469b-85c4-eec3b9c972ba" providerId="ADAL" clId="{D91A4310-FFA3-49CF-81D4-6E62CE1ACB5C}" dt="2022-08-22T14:54:57.456" v="2566" actId="20577"/>
          <ac:spMkLst>
            <pc:docMk/>
            <pc:sldMk cId="850533415" sldId="2147470001"/>
            <ac:spMk id="5" creationId="{8A260745-9B2D-414D-56A1-E59273CA8053}"/>
          </ac:spMkLst>
        </pc:spChg>
      </pc:sldChg>
      <pc:sldChg chg="modSp mod modNotes">
        <pc:chgData name="Thomas Stensitzki" userId="75cafe6b-2f2a-469b-85c4-eec3b9c972ba" providerId="ADAL" clId="{D91A4310-FFA3-49CF-81D4-6E62CE1ACB5C}" dt="2022-08-22T14:27:41.327" v="1416" actId="790"/>
        <pc:sldMkLst>
          <pc:docMk/>
          <pc:sldMk cId="2075355132" sldId="2147470002"/>
        </pc:sldMkLst>
        <pc:spChg chg="mod">
          <ac:chgData name="Thomas Stensitzki" userId="75cafe6b-2f2a-469b-85c4-eec3b9c972ba" providerId="ADAL" clId="{D91A4310-FFA3-49CF-81D4-6E62CE1ACB5C}" dt="2022-08-22T14:27:41.324" v="1413" actId="790"/>
          <ac:spMkLst>
            <pc:docMk/>
            <pc:sldMk cId="2075355132" sldId="2147470002"/>
            <ac:spMk id="3" creationId="{2030471A-DBA9-DA7F-E315-596A99F2774D}"/>
          </ac:spMkLst>
        </pc:spChg>
        <pc:spChg chg="mod">
          <ac:chgData name="Thomas Stensitzki" userId="75cafe6b-2f2a-469b-85c4-eec3b9c972ba" providerId="ADAL" clId="{D91A4310-FFA3-49CF-81D4-6E62CE1ACB5C}" dt="2022-08-22T14:27:41.325" v="1414" actId="790"/>
          <ac:spMkLst>
            <pc:docMk/>
            <pc:sldMk cId="2075355132" sldId="2147470002"/>
            <ac:spMk id="4" creationId="{713B3D8E-0E41-9A95-471C-B34221FD7A77}"/>
          </ac:spMkLst>
        </pc:spChg>
      </pc:sldChg>
      <pc:sldChg chg="modSp mod modNotes">
        <pc:chgData name="Thomas Stensitzki" userId="75cafe6b-2f2a-469b-85c4-eec3b9c972ba" providerId="ADAL" clId="{D91A4310-FFA3-49CF-81D4-6E62CE1ACB5C}" dt="2022-08-27T11:22:53.742" v="4758"/>
        <pc:sldMkLst>
          <pc:docMk/>
          <pc:sldMk cId="2807454091" sldId="2147470003"/>
        </pc:sldMkLst>
        <pc:spChg chg="mod">
          <ac:chgData name="Thomas Stensitzki" userId="75cafe6b-2f2a-469b-85c4-eec3b9c972ba" providerId="ADAL" clId="{D91A4310-FFA3-49CF-81D4-6E62CE1ACB5C}" dt="2022-08-22T14:27:41.340" v="1425" actId="790"/>
          <ac:spMkLst>
            <pc:docMk/>
            <pc:sldMk cId="2807454091" sldId="2147470003"/>
            <ac:spMk id="2" creationId="{4C6B0AC2-B025-A989-29BA-1470A02C5A41}"/>
          </ac:spMkLst>
        </pc:spChg>
        <pc:spChg chg="mod">
          <ac:chgData name="Thomas Stensitzki" userId="75cafe6b-2f2a-469b-85c4-eec3b9c972ba" providerId="ADAL" clId="{D91A4310-FFA3-49CF-81D4-6E62CE1ACB5C}" dt="2022-08-27T11:22:53.742" v="4758"/>
          <ac:spMkLst>
            <pc:docMk/>
            <pc:sldMk cId="2807454091" sldId="2147470003"/>
            <ac:spMk id="5" creationId="{8A260745-9B2D-414D-56A1-E59273CA8053}"/>
          </ac:spMkLst>
        </pc:spChg>
      </pc:sldChg>
      <pc:sldChg chg="modSp mod modNotes">
        <pc:chgData name="Thomas Stensitzki" userId="75cafe6b-2f2a-469b-85c4-eec3b9c972ba" providerId="ADAL" clId="{D91A4310-FFA3-49CF-81D4-6E62CE1ACB5C}" dt="2022-08-27T11:16:33.081" v="4266" actId="20577"/>
        <pc:sldMkLst>
          <pc:docMk/>
          <pc:sldMk cId="221706065" sldId="2147470004"/>
        </pc:sldMkLst>
        <pc:spChg chg="mod">
          <ac:chgData name="Thomas Stensitzki" userId="75cafe6b-2f2a-469b-85c4-eec3b9c972ba" providerId="ADAL" clId="{D91A4310-FFA3-49CF-81D4-6E62CE1ACB5C}" dt="2022-08-22T14:27:41.447" v="1503" actId="790"/>
          <ac:spMkLst>
            <pc:docMk/>
            <pc:sldMk cId="221706065" sldId="2147470004"/>
            <ac:spMk id="2" creationId="{10E92CB0-B8A1-702D-6451-A5E9D139B7DC}"/>
          </ac:spMkLst>
        </pc:spChg>
        <pc:spChg chg="mod">
          <ac:chgData name="Thomas Stensitzki" userId="75cafe6b-2f2a-469b-85c4-eec3b9c972ba" providerId="ADAL" clId="{D91A4310-FFA3-49CF-81D4-6E62CE1ACB5C}" dt="2022-08-27T11:16:33.081" v="4266" actId="20577"/>
          <ac:spMkLst>
            <pc:docMk/>
            <pc:sldMk cId="221706065" sldId="2147470004"/>
            <ac:spMk id="4" creationId="{713B3D8E-0E41-9A95-471C-B34221FD7A77}"/>
          </ac:spMkLst>
        </pc:spChg>
      </pc:sldChg>
      <pc:sldChg chg="modSp mod modNotes">
        <pc:chgData name="Thomas Stensitzki" userId="75cafe6b-2f2a-469b-85c4-eec3b9c972ba" providerId="ADAL" clId="{D91A4310-FFA3-49CF-81D4-6E62CE1ACB5C}" dt="2022-08-22T14:27:41.505" v="1546" actId="790"/>
        <pc:sldMkLst>
          <pc:docMk/>
          <pc:sldMk cId="4159166838" sldId="2147470005"/>
        </pc:sldMkLst>
        <pc:spChg chg="mod">
          <ac:chgData name="Thomas Stensitzki" userId="75cafe6b-2f2a-469b-85c4-eec3b9c972ba" providerId="ADAL" clId="{D91A4310-FFA3-49CF-81D4-6E62CE1ACB5C}" dt="2022-08-22T14:27:41.500" v="1542" actId="790"/>
          <ac:spMkLst>
            <pc:docMk/>
            <pc:sldMk cId="4159166838" sldId="2147470005"/>
            <ac:spMk id="8" creationId="{2B95072F-3FA2-D506-DF12-96EE3EE40EE8}"/>
          </ac:spMkLst>
        </pc:spChg>
        <pc:spChg chg="mod">
          <ac:chgData name="Thomas Stensitzki" userId="75cafe6b-2f2a-469b-85c4-eec3b9c972ba" providerId="ADAL" clId="{D91A4310-FFA3-49CF-81D4-6E62CE1ACB5C}" dt="2022-08-22T14:27:41.502" v="1543" actId="790"/>
          <ac:spMkLst>
            <pc:docMk/>
            <pc:sldMk cId="4159166838" sldId="2147470005"/>
            <ac:spMk id="9" creationId="{0675131C-196F-7011-4D16-EEF8506C5123}"/>
          </ac:spMkLst>
        </pc:spChg>
        <pc:spChg chg="mod">
          <ac:chgData name="Thomas Stensitzki" userId="75cafe6b-2f2a-469b-85c4-eec3b9c972ba" providerId="ADAL" clId="{D91A4310-FFA3-49CF-81D4-6E62CE1ACB5C}" dt="2022-08-22T14:27:41.504" v="1544" actId="790"/>
          <ac:spMkLst>
            <pc:docMk/>
            <pc:sldMk cId="4159166838" sldId="2147470005"/>
            <ac:spMk id="10" creationId="{5135BCA6-63BE-D69F-8426-91DD70EBBE9A}"/>
          </ac:spMkLst>
        </pc:spChg>
      </pc:sldChg>
      <pc:sldChg chg="modSp mod modNotes">
        <pc:chgData name="Thomas Stensitzki" userId="75cafe6b-2f2a-469b-85c4-eec3b9c972ba" providerId="ADAL" clId="{D91A4310-FFA3-49CF-81D4-6E62CE1ACB5C}" dt="2022-08-22T14:55:26.187" v="2572" actId="6549"/>
        <pc:sldMkLst>
          <pc:docMk/>
          <pc:sldMk cId="1154972657" sldId="2147470006"/>
        </pc:sldMkLst>
        <pc:spChg chg="mod">
          <ac:chgData name="Thomas Stensitzki" userId="75cafe6b-2f2a-469b-85c4-eec3b9c972ba" providerId="ADAL" clId="{D91A4310-FFA3-49CF-81D4-6E62CE1ACB5C}" dt="2022-08-22T14:27:41.320" v="1409" actId="790"/>
          <ac:spMkLst>
            <pc:docMk/>
            <pc:sldMk cId="1154972657" sldId="2147470006"/>
            <ac:spMk id="2" creationId="{4C6B0AC2-B025-A989-29BA-1470A02C5A41}"/>
          </ac:spMkLst>
        </pc:spChg>
        <pc:spChg chg="mod">
          <ac:chgData name="Thomas Stensitzki" userId="75cafe6b-2f2a-469b-85c4-eec3b9c972ba" providerId="ADAL" clId="{D91A4310-FFA3-49CF-81D4-6E62CE1ACB5C}" dt="2022-08-22T14:55:26.187" v="2572" actId="6549"/>
          <ac:spMkLst>
            <pc:docMk/>
            <pc:sldMk cId="1154972657" sldId="2147470006"/>
            <ac:spMk id="5" creationId="{8A260745-9B2D-414D-56A1-E59273CA8053}"/>
          </ac:spMkLst>
        </pc:spChg>
      </pc:sldChg>
      <pc:sldChg chg="modSp mod modNotes">
        <pc:chgData name="Thomas Stensitzki" userId="75cafe6b-2f2a-469b-85c4-eec3b9c972ba" providerId="ADAL" clId="{D91A4310-FFA3-49CF-81D4-6E62CE1ACB5C}" dt="2022-08-27T11:12:15.405" v="4196" actId="6549"/>
        <pc:sldMkLst>
          <pc:docMk/>
          <pc:sldMk cId="1473011318" sldId="2147470008"/>
        </pc:sldMkLst>
        <pc:spChg chg="mod">
          <ac:chgData name="Thomas Stensitzki" userId="75cafe6b-2f2a-469b-85c4-eec3b9c972ba" providerId="ADAL" clId="{D91A4310-FFA3-49CF-81D4-6E62CE1ACB5C}" dt="2022-08-22T14:27:41.413" v="1486" actId="790"/>
          <ac:spMkLst>
            <pc:docMk/>
            <pc:sldMk cId="1473011318" sldId="2147470008"/>
            <ac:spMk id="2" creationId="{4C6B0AC2-B025-A989-29BA-1470A02C5A41}"/>
          </ac:spMkLst>
        </pc:spChg>
        <pc:spChg chg="mod">
          <ac:chgData name="Thomas Stensitzki" userId="75cafe6b-2f2a-469b-85c4-eec3b9c972ba" providerId="ADAL" clId="{D91A4310-FFA3-49CF-81D4-6E62CE1ACB5C}" dt="2022-08-27T11:12:15.405" v="4196" actId="6549"/>
          <ac:spMkLst>
            <pc:docMk/>
            <pc:sldMk cId="1473011318" sldId="2147470008"/>
            <ac:spMk id="5" creationId="{8A260745-9B2D-414D-56A1-E59273CA8053}"/>
          </ac:spMkLst>
        </pc:spChg>
      </pc:sldChg>
      <pc:sldChg chg="modSp mod modNotes modNotesTx">
        <pc:chgData name="Thomas Stensitzki" userId="75cafe6b-2f2a-469b-85c4-eec3b9c972ba" providerId="ADAL" clId="{D91A4310-FFA3-49CF-81D4-6E62CE1ACB5C}" dt="2022-08-27T11:04:13.744" v="3872" actId="20577"/>
        <pc:sldMkLst>
          <pc:docMk/>
          <pc:sldMk cId="234962032" sldId="2147470009"/>
        </pc:sldMkLst>
        <pc:spChg chg="mod">
          <ac:chgData name="Thomas Stensitzki" userId="75cafe6b-2f2a-469b-85c4-eec3b9c972ba" providerId="ADAL" clId="{D91A4310-FFA3-49CF-81D4-6E62CE1ACB5C}" dt="2022-08-22T14:27:41.345" v="1429" actId="790"/>
          <ac:spMkLst>
            <pc:docMk/>
            <pc:sldMk cId="234962032" sldId="2147470009"/>
            <ac:spMk id="2" creationId="{4C6B0AC2-B025-A989-29BA-1470A02C5A41}"/>
          </ac:spMkLst>
        </pc:spChg>
        <pc:spChg chg="mod">
          <ac:chgData name="Thomas Stensitzki" userId="75cafe6b-2f2a-469b-85c4-eec3b9c972ba" providerId="ADAL" clId="{D91A4310-FFA3-49CF-81D4-6E62CE1ACB5C}" dt="2022-08-27T11:04:13.744" v="3872" actId="20577"/>
          <ac:spMkLst>
            <pc:docMk/>
            <pc:sldMk cId="234962032" sldId="2147470009"/>
            <ac:spMk id="5" creationId="{8A260745-9B2D-414D-56A1-E59273CA8053}"/>
          </ac:spMkLst>
        </pc:spChg>
      </pc:sldChg>
      <pc:sldChg chg="modSp mod modNotes">
        <pc:chgData name="Thomas Stensitzki" userId="75cafe6b-2f2a-469b-85c4-eec3b9c972ba" providerId="ADAL" clId="{D91A4310-FFA3-49CF-81D4-6E62CE1ACB5C}" dt="2022-08-27T11:19:27.312" v="4625" actId="14100"/>
        <pc:sldMkLst>
          <pc:docMk/>
          <pc:sldMk cId="234765325" sldId="2147470010"/>
        </pc:sldMkLst>
        <pc:spChg chg="mod">
          <ac:chgData name="Thomas Stensitzki" userId="75cafe6b-2f2a-469b-85c4-eec3b9c972ba" providerId="ADAL" clId="{D91A4310-FFA3-49CF-81D4-6E62CE1ACB5C}" dt="2022-08-22T14:27:41.455" v="1511" actId="790"/>
          <ac:spMkLst>
            <pc:docMk/>
            <pc:sldMk cId="234765325" sldId="2147470010"/>
            <ac:spMk id="2" creationId="{4C6B0AC2-B025-A989-29BA-1470A02C5A41}"/>
          </ac:spMkLst>
        </pc:spChg>
        <pc:spChg chg="mod">
          <ac:chgData name="Thomas Stensitzki" userId="75cafe6b-2f2a-469b-85c4-eec3b9c972ba" providerId="ADAL" clId="{D91A4310-FFA3-49CF-81D4-6E62CE1ACB5C}" dt="2022-08-27T11:19:27.312" v="4625" actId="14100"/>
          <ac:spMkLst>
            <pc:docMk/>
            <pc:sldMk cId="234765325" sldId="2147470010"/>
            <ac:spMk id="5" creationId="{8A260745-9B2D-414D-56A1-E59273CA8053}"/>
          </ac:spMkLst>
        </pc:spChg>
      </pc:sldChg>
      <pc:sldChg chg="modSp mod modNotes">
        <pc:chgData name="Thomas Stensitzki" userId="75cafe6b-2f2a-469b-85c4-eec3b9c972ba" providerId="ADAL" clId="{D91A4310-FFA3-49CF-81D4-6E62CE1ACB5C}" dt="2022-08-27T11:53:49.047" v="5230" actId="6549"/>
        <pc:sldMkLst>
          <pc:docMk/>
          <pc:sldMk cId="2226377623" sldId="2147470011"/>
        </pc:sldMkLst>
        <pc:spChg chg="mod">
          <ac:chgData name="Thomas Stensitzki" userId="75cafe6b-2f2a-469b-85c4-eec3b9c972ba" providerId="ADAL" clId="{D91A4310-FFA3-49CF-81D4-6E62CE1ACB5C}" dt="2022-08-22T14:27:41.476" v="1523" actId="790"/>
          <ac:spMkLst>
            <pc:docMk/>
            <pc:sldMk cId="2226377623" sldId="2147470011"/>
            <ac:spMk id="2" creationId="{4C6B0AC2-B025-A989-29BA-1470A02C5A41}"/>
          </ac:spMkLst>
        </pc:spChg>
        <pc:spChg chg="mod">
          <ac:chgData name="Thomas Stensitzki" userId="75cafe6b-2f2a-469b-85c4-eec3b9c972ba" providerId="ADAL" clId="{D91A4310-FFA3-49CF-81D4-6E62CE1ACB5C}" dt="2022-08-27T11:53:49.047" v="5230" actId="6549"/>
          <ac:spMkLst>
            <pc:docMk/>
            <pc:sldMk cId="2226377623" sldId="2147470011"/>
            <ac:spMk id="5" creationId="{8A260745-9B2D-414D-56A1-E59273CA8053}"/>
          </ac:spMkLst>
        </pc:spChg>
      </pc:sldChg>
      <pc:sldChg chg="modSp mod modNotes modNotesTx">
        <pc:chgData name="Thomas Stensitzki" userId="75cafe6b-2f2a-469b-85c4-eec3b9c972ba" providerId="ADAL" clId="{D91A4310-FFA3-49CF-81D4-6E62CE1ACB5C}" dt="2022-08-27T11:00:20.511" v="3764" actId="20577"/>
        <pc:sldMkLst>
          <pc:docMk/>
          <pc:sldMk cId="1724960570" sldId="2147470012"/>
        </pc:sldMkLst>
        <pc:spChg chg="mod">
          <ac:chgData name="Thomas Stensitzki" userId="75cafe6b-2f2a-469b-85c4-eec3b9c972ba" providerId="ADAL" clId="{D91A4310-FFA3-49CF-81D4-6E62CE1ACB5C}" dt="2022-08-22T14:27:41.327" v="1417" actId="790"/>
          <ac:spMkLst>
            <pc:docMk/>
            <pc:sldMk cId="1724960570" sldId="2147470012"/>
            <ac:spMk id="2" creationId="{4C6B0AC2-B025-A989-29BA-1470A02C5A41}"/>
          </ac:spMkLst>
        </pc:spChg>
        <pc:spChg chg="mod">
          <ac:chgData name="Thomas Stensitzki" userId="75cafe6b-2f2a-469b-85c4-eec3b9c972ba" providerId="ADAL" clId="{D91A4310-FFA3-49CF-81D4-6E62CE1ACB5C}" dt="2022-08-27T11:00:20.511" v="3764" actId="20577"/>
          <ac:spMkLst>
            <pc:docMk/>
            <pc:sldMk cId="1724960570" sldId="2147470012"/>
            <ac:spMk id="5" creationId="{8A260745-9B2D-414D-56A1-E59273CA8053}"/>
          </ac:spMkLst>
        </pc:spChg>
      </pc:sldChg>
      <pc:sldChg chg="modSp mod modNotes">
        <pc:chgData name="Thomas Stensitzki" userId="75cafe6b-2f2a-469b-85c4-eec3b9c972ba" providerId="ADAL" clId="{D91A4310-FFA3-49CF-81D4-6E62CE1ACB5C}" dt="2022-08-22T14:27:41.367" v="1444" actId="790"/>
        <pc:sldMkLst>
          <pc:docMk/>
          <pc:sldMk cId="3523718426" sldId="2147470013"/>
        </pc:sldMkLst>
        <pc:spChg chg="mod">
          <ac:chgData name="Thomas Stensitzki" userId="75cafe6b-2f2a-469b-85c4-eec3b9c972ba" providerId="ADAL" clId="{D91A4310-FFA3-49CF-81D4-6E62CE1ACB5C}" dt="2022-08-22T14:27:41.362" v="1441" actId="790"/>
          <ac:spMkLst>
            <pc:docMk/>
            <pc:sldMk cId="3523718426" sldId="2147470013"/>
            <ac:spMk id="2" creationId="{4C6B0AC2-B025-A989-29BA-1470A02C5A41}"/>
          </ac:spMkLst>
        </pc:spChg>
        <pc:spChg chg="mod">
          <ac:chgData name="Thomas Stensitzki" userId="75cafe6b-2f2a-469b-85c4-eec3b9c972ba" providerId="ADAL" clId="{D91A4310-FFA3-49CF-81D4-6E62CE1ACB5C}" dt="2022-08-22T14:27:41.364" v="1442" actId="790"/>
          <ac:spMkLst>
            <pc:docMk/>
            <pc:sldMk cId="3523718426" sldId="2147470013"/>
            <ac:spMk id="5" creationId="{8A260745-9B2D-414D-56A1-E59273CA8053}"/>
          </ac:spMkLst>
        </pc:spChg>
      </pc:sldChg>
      <pc:sldChg chg="modSp mod modNotes">
        <pc:chgData name="Thomas Stensitzki" userId="75cafe6b-2f2a-469b-85c4-eec3b9c972ba" providerId="ADAL" clId="{D91A4310-FFA3-49CF-81D4-6E62CE1ACB5C}" dt="2022-08-27T11:10:46.583" v="4194" actId="313"/>
        <pc:sldMkLst>
          <pc:docMk/>
          <pc:sldMk cId="2939633036" sldId="2147470014"/>
        </pc:sldMkLst>
        <pc:spChg chg="mod">
          <ac:chgData name="Thomas Stensitzki" userId="75cafe6b-2f2a-469b-85c4-eec3b9c972ba" providerId="ADAL" clId="{D91A4310-FFA3-49CF-81D4-6E62CE1ACB5C}" dt="2022-08-22T14:27:41.357" v="1437" actId="790"/>
          <ac:spMkLst>
            <pc:docMk/>
            <pc:sldMk cId="2939633036" sldId="2147470014"/>
            <ac:spMk id="2" creationId="{4C6B0AC2-B025-A989-29BA-1470A02C5A41}"/>
          </ac:spMkLst>
        </pc:spChg>
        <pc:spChg chg="mod">
          <ac:chgData name="Thomas Stensitzki" userId="75cafe6b-2f2a-469b-85c4-eec3b9c972ba" providerId="ADAL" clId="{D91A4310-FFA3-49CF-81D4-6E62CE1ACB5C}" dt="2022-08-27T11:10:46.583" v="4194" actId="313"/>
          <ac:spMkLst>
            <pc:docMk/>
            <pc:sldMk cId="2939633036" sldId="2147470014"/>
            <ac:spMk id="5" creationId="{8A260745-9B2D-414D-56A1-E59273CA8053}"/>
          </ac:spMkLst>
        </pc:spChg>
      </pc:sldChg>
      <pc:sldChg chg="addSp delSp modSp mod ord modNotes">
        <pc:chgData name="Thomas Stensitzki" userId="75cafe6b-2f2a-469b-85c4-eec3b9c972ba" providerId="ADAL" clId="{D91A4310-FFA3-49CF-81D4-6E62CE1ACB5C}" dt="2022-08-27T10:59:17.987" v="3754"/>
        <pc:sldMkLst>
          <pc:docMk/>
          <pc:sldMk cId="265443972" sldId="2147470015"/>
        </pc:sldMkLst>
        <pc:spChg chg="mod">
          <ac:chgData name="Thomas Stensitzki" userId="75cafe6b-2f2a-469b-85c4-eec3b9c972ba" providerId="ADAL" clId="{D91A4310-FFA3-49CF-81D4-6E62CE1ACB5C}" dt="2022-08-22T14:27:41.305" v="1394" actId="790"/>
          <ac:spMkLst>
            <pc:docMk/>
            <pc:sldMk cId="265443972" sldId="2147470015"/>
            <ac:spMk id="2" creationId="{4C6B0AC2-B025-A989-29BA-1470A02C5A41}"/>
          </ac:spMkLst>
        </pc:spChg>
        <pc:spChg chg="add mod">
          <ac:chgData name="Thomas Stensitzki" userId="75cafe6b-2f2a-469b-85c4-eec3b9c972ba" providerId="ADAL" clId="{D91A4310-FFA3-49CF-81D4-6E62CE1ACB5C}" dt="2022-08-22T14:27:41.308" v="1396" actId="790"/>
          <ac:spMkLst>
            <pc:docMk/>
            <pc:sldMk cId="265443972" sldId="2147470015"/>
            <ac:spMk id="3" creationId="{283BD80E-5E2F-EE46-AC03-D7227C881DDC}"/>
          </ac:spMkLst>
        </pc:spChg>
        <pc:spChg chg="mod">
          <ac:chgData name="Thomas Stensitzki" userId="75cafe6b-2f2a-469b-85c4-eec3b9c972ba" providerId="ADAL" clId="{D91A4310-FFA3-49CF-81D4-6E62CE1ACB5C}" dt="2022-08-22T14:56:39.922" v="2595" actId="20577"/>
          <ac:spMkLst>
            <pc:docMk/>
            <pc:sldMk cId="265443972" sldId="2147470015"/>
            <ac:spMk id="5" creationId="{8A260745-9B2D-414D-56A1-E59273CA8053}"/>
          </ac:spMkLst>
        </pc:spChg>
        <pc:spChg chg="add mod">
          <ac:chgData name="Thomas Stensitzki" userId="75cafe6b-2f2a-469b-85c4-eec3b9c972ba" providerId="ADAL" clId="{D91A4310-FFA3-49CF-81D4-6E62CE1ACB5C}" dt="2022-08-22T14:27:41.309" v="1397" actId="790"/>
          <ac:spMkLst>
            <pc:docMk/>
            <pc:sldMk cId="265443972" sldId="2147470015"/>
            <ac:spMk id="10" creationId="{18A4D900-F647-03C4-250A-9904EC0F8750}"/>
          </ac:spMkLst>
        </pc:spChg>
        <pc:spChg chg="add mod">
          <ac:chgData name="Thomas Stensitzki" userId="75cafe6b-2f2a-469b-85c4-eec3b9c972ba" providerId="ADAL" clId="{D91A4310-FFA3-49CF-81D4-6E62CE1ACB5C}" dt="2022-08-22T14:27:41.310" v="1398" actId="790"/>
          <ac:spMkLst>
            <pc:docMk/>
            <pc:sldMk cId="265443972" sldId="2147470015"/>
            <ac:spMk id="13" creationId="{15D214A0-DC8E-D32F-A842-A2BF09C59929}"/>
          </ac:spMkLst>
        </pc:spChg>
        <pc:spChg chg="add mod">
          <ac:chgData name="Thomas Stensitzki" userId="75cafe6b-2f2a-469b-85c4-eec3b9c972ba" providerId="ADAL" clId="{D91A4310-FFA3-49CF-81D4-6E62CE1ACB5C}" dt="2022-08-27T10:58:37.006" v="3747" actId="1076"/>
          <ac:spMkLst>
            <pc:docMk/>
            <pc:sldMk cId="265443972" sldId="2147470015"/>
            <ac:spMk id="14" creationId="{21091517-4936-ABFD-1E92-44CCC9397272}"/>
          </ac:spMkLst>
        </pc:spChg>
        <pc:spChg chg="add mod">
          <ac:chgData name="Thomas Stensitzki" userId="75cafe6b-2f2a-469b-85c4-eec3b9c972ba" providerId="ADAL" clId="{D91A4310-FFA3-49CF-81D4-6E62CE1ACB5C}" dt="2022-08-27T10:58:44.541" v="3748" actId="1076"/>
          <ac:spMkLst>
            <pc:docMk/>
            <pc:sldMk cId="265443972" sldId="2147470015"/>
            <ac:spMk id="16" creationId="{A3440FF0-534A-EFCB-142B-5AA17B78DAB0}"/>
          </ac:spMkLst>
        </pc:spChg>
        <pc:picChg chg="mod">
          <ac:chgData name="Thomas Stensitzki" userId="75cafe6b-2f2a-469b-85c4-eec3b9c972ba" providerId="ADAL" clId="{D91A4310-FFA3-49CF-81D4-6E62CE1ACB5C}" dt="2022-08-22T06:01:40.276" v="12" actId="1076"/>
          <ac:picMkLst>
            <pc:docMk/>
            <pc:sldMk cId="265443972" sldId="2147470015"/>
            <ac:picMk id="4" creationId="{A562E604-AFE7-E30F-56E6-406F86F72517}"/>
          </ac:picMkLst>
        </pc:picChg>
        <pc:picChg chg="mod">
          <ac:chgData name="Thomas Stensitzki" userId="75cafe6b-2f2a-469b-85c4-eec3b9c972ba" providerId="ADAL" clId="{D91A4310-FFA3-49CF-81D4-6E62CE1ACB5C}" dt="2022-08-22T06:01:40.276" v="12" actId="1076"/>
          <ac:picMkLst>
            <pc:docMk/>
            <pc:sldMk cId="265443972" sldId="2147470015"/>
            <ac:picMk id="7" creationId="{49DF100B-A91C-B829-D524-C81249CFC5EA}"/>
          </ac:picMkLst>
        </pc:picChg>
        <pc:picChg chg="mod">
          <ac:chgData name="Thomas Stensitzki" userId="75cafe6b-2f2a-469b-85c4-eec3b9c972ba" providerId="ADAL" clId="{D91A4310-FFA3-49CF-81D4-6E62CE1ACB5C}" dt="2022-08-22T06:01:40.276" v="12" actId="1076"/>
          <ac:picMkLst>
            <pc:docMk/>
            <pc:sldMk cId="265443972" sldId="2147470015"/>
            <ac:picMk id="9" creationId="{9AEB2A7A-DD30-258D-03CB-D65EFD0B0280}"/>
          </ac:picMkLst>
        </pc:picChg>
        <pc:picChg chg="add del mod">
          <ac:chgData name="Thomas Stensitzki" userId="75cafe6b-2f2a-469b-85c4-eec3b9c972ba" providerId="ADAL" clId="{D91A4310-FFA3-49CF-81D4-6E62CE1ACB5C}" dt="2022-08-22T06:02:40.459" v="38"/>
          <ac:picMkLst>
            <pc:docMk/>
            <pc:sldMk cId="265443972" sldId="2147470015"/>
            <ac:picMk id="12" creationId="{D304AB1A-1478-E7D9-76DF-B9BFDC39B58E}"/>
          </ac:picMkLst>
        </pc:picChg>
        <pc:cxnChg chg="mod">
          <ac:chgData name="Thomas Stensitzki" userId="75cafe6b-2f2a-469b-85c4-eec3b9c972ba" providerId="ADAL" clId="{D91A4310-FFA3-49CF-81D4-6E62CE1ACB5C}" dt="2022-08-22T06:01:40.276" v="12" actId="1076"/>
          <ac:cxnSpMkLst>
            <pc:docMk/>
            <pc:sldMk cId="265443972" sldId="2147470015"/>
            <ac:cxnSpMk id="11" creationId="{4B187DBF-C9C8-A6C5-5691-91492D8B1BD2}"/>
          </ac:cxnSpMkLst>
        </pc:cxnChg>
        <pc:cxnChg chg="mod">
          <ac:chgData name="Thomas Stensitzki" userId="75cafe6b-2f2a-469b-85c4-eec3b9c972ba" providerId="ADAL" clId="{D91A4310-FFA3-49CF-81D4-6E62CE1ACB5C}" dt="2022-08-22T06:01:40.276" v="12" actId="1076"/>
          <ac:cxnSpMkLst>
            <pc:docMk/>
            <pc:sldMk cId="265443972" sldId="2147470015"/>
            <ac:cxnSpMk id="15" creationId="{9F8650F6-B44B-A6A1-934C-A39D962A1424}"/>
          </ac:cxnSpMkLst>
        </pc:cxnChg>
      </pc:sldChg>
      <pc:sldChg chg="modSp mod modNotes">
        <pc:chgData name="Thomas Stensitzki" userId="75cafe6b-2f2a-469b-85c4-eec3b9c972ba" providerId="ADAL" clId="{D91A4310-FFA3-49CF-81D4-6E62CE1ACB5C}" dt="2022-08-27T11:02:56.744" v="3836" actId="6549"/>
        <pc:sldMkLst>
          <pc:docMk/>
          <pc:sldMk cId="1858799246" sldId="2147470016"/>
        </pc:sldMkLst>
        <pc:spChg chg="mod">
          <ac:chgData name="Thomas Stensitzki" userId="75cafe6b-2f2a-469b-85c4-eec3b9c972ba" providerId="ADAL" clId="{D91A4310-FFA3-49CF-81D4-6E62CE1ACB5C}" dt="2022-08-22T14:27:41.335" v="1421" actId="790"/>
          <ac:spMkLst>
            <pc:docMk/>
            <pc:sldMk cId="1858799246" sldId="2147470016"/>
            <ac:spMk id="2" creationId="{4C6B0AC2-B025-A989-29BA-1470A02C5A41}"/>
          </ac:spMkLst>
        </pc:spChg>
        <pc:spChg chg="mod">
          <ac:chgData name="Thomas Stensitzki" userId="75cafe6b-2f2a-469b-85c4-eec3b9c972ba" providerId="ADAL" clId="{D91A4310-FFA3-49CF-81D4-6E62CE1ACB5C}" dt="2022-08-27T11:02:56.744" v="3836" actId="6549"/>
          <ac:spMkLst>
            <pc:docMk/>
            <pc:sldMk cId="1858799246" sldId="2147470016"/>
            <ac:spMk id="5" creationId="{8A260745-9B2D-414D-56A1-E59273CA8053}"/>
          </ac:spMkLst>
        </pc:spChg>
      </pc:sldChg>
      <pc:sldChg chg="addSp delSp modSp mod modNotes">
        <pc:chgData name="Thomas Stensitzki" userId="75cafe6b-2f2a-469b-85c4-eec3b9c972ba" providerId="ADAL" clId="{D91A4310-FFA3-49CF-81D4-6E62CE1ACB5C}" dt="2022-08-22T14:27:41.408" v="1485" actId="790"/>
        <pc:sldMkLst>
          <pc:docMk/>
          <pc:sldMk cId="3058860187" sldId="2147470017"/>
        </pc:sldMkLst>
        <pc:spChg chg="mod">
          <ac:chgData name="Thomas Stensitzki" userId="75cafe6b-2f2a-469b-85c4-eec3b9c972ba" providerId="ADAL" clId="{D91A4310-FFA3-49CF-81D4-6E62CE1ACB5C}" dt="2022-08-22T14:27:41.400" v="1477" actId="790"/>
          <ac:spMkLst>
            <pc:docMk/>
            <pc:sldMk cId="3058860187" sldId="2147470017"/>
            <ac:spMk id="2" creationId="{2EE42EDA-D058-5E3F-2691-1F27402CC07D}"/>
          </ac:spMkLst>
        </pc:spChg>
        <pc:spChg chg="mod">
          <ac:chgData name="Thomas Stensitzki" userId="75cafe6b-2f2a-469b-85c4-eec3b9c972ba" providerId="ADAL" clId="{D91A4310-FFA3-49CF-81D4-6E62CE1ACB5C}" dt="2022-08-22T14:27:41.402" v="1478" actId="790"/>
          <ac:spMkLst>
            <pc:docMk/>
            <pc:sldMk cId="3058860187" sldId="2147470017"/>
            <ac:spMk id="3" creationId="{A5FB7E5F-62A2-9709-44E6-8ED9C2283543}"/>
          </ac:spMkLst>
        </pc:spChg>
        <pc:spChg chg="add mod">
          <ac:chgData name="Thomas Stensitzki" userId="75cafe6b-2f2a-469b-85c4-eec3b9c972ba" providerId="ADAL" clId="{D91A4310-FFA3-49CF-81D4-6E62CE1ACB5C}" dt="2022-08-22T14:27:41.403" v="1479" actId="790"/>
          <ac:spMkLst>
            <pc:docMk/>
            <pc:sldMk cId="3058860187" sldId="2147470017"/>
            <ac:spMk id="4" creationId="{C73F57A6-0D9A-90F2-4B70-586BCF5E6AA8}"/>
          </ac:spMkLst>
        </pc:spChg>
        <pc:spChg chg="add del mod">
          <ac:chgData name="Thomas Stensitzki" userId="75cafe6b-2f2a-469b-85c4-eec3b9c972ba" providerId="ADAL" clId="{D91A4310-FFA3-49CF-81D4-6E62CE1ACB5C}" dt="2022-08-22T06:07:24.261" v="157" actId="478"/>
          <ac:spMkLst>
            <pc:docMk/>
            <pc:sldMk cId="3058860187" sldId="2147470017"/>
            <ac:spMk id="11" creationId="{682FC0F5-7640-30FE-483C-21CC80272500}"/>
          </ac:spMkLst>
        </pc:spChg>
        <pc:spChg chg="add mod">
          <ac:chgData name="Thomas Stensitzki" userId="75cafe6b-2f2a-469b-85c4-eec3b9c972ba" providerId="ADAL" clId="{D91A4310-FFA3-49CF-81D4-6E62CE1ACB5C}" dt="2022-08-22T14:27:41.404" v="1480" actId="790"/>
          <ac:spMkLst>
            <pc:docMk/>
            <pc:sldMk cId="3058860187" sldId="2147470017"/>
            <ac:spMk id="12" creationId="{1A6AFF8B-BB0B-419C-E9DC-BB61CB84A61E}"/>
          </ac:spMkLst>
        </pc:spChg>
        <pc:spChg chg="add mod">
          <ac:chgData name="Thomas Stensitzki" userId="75cafe6b-2f2a-469b-85c4-eec3b9c972ba" providerId="ADAL" clId="{D91A4310-FFA3-49CF-81D4-6E62CE1ACB5C}" dt="2022-08-22T14:27:41.404" v="1481" actId="790"/>
          <ac:spMkLst>
            <pc:docMk/>
            <pc:sldMk cId="3058860187" sldId="2147470017"/>
            <ac:spMk id="13" creationId="{649AA825-463E-3BA0-9D1E-410ED4731E0A}"/>
          </ac:spMkLst>
        </pc:spChg>
        <pc:spChg chg="add mod">
          <ac:chgData name="Thomas Stensitzki" userId="75cafe6b-2f2a-469b-85c4-eec3b9c972ba" providerId="ADAL" clId="{D91A4310-FFA3-49CF-81D4-6E62CE1ACB5C}" dt="2022-08-22T14:27:41.405" v="1482" actId="790"/>
          <ac:spMkLst>
            <pc:docMk/>
            <pc:sldMk cId="3058860187" sldId="2147470017"/>
            <ac:spMk id="14" creationId="{8B835BC5-F552-61AF-ABB5-642226F4CE2C}"/>
          </ac:spMkLst>
        </pc:spChg>
        <pc:spChg chg="add mod">
          <ac:chgData name="Thomas Stensitzki" userId="75cafe6b-2f2a-469b-85c4-eec3b9c972ba" providerId="ADAL" clId="{D91A4310-FFA3-49CF-81D4-6E62CE1ACB5C}" dt="2022-08-22T14:27:41.406" v="1483" actId="790"/>
          <ac:spMkLst>
            <pc:docMk/>
            <pc:sldMk cId="3058860187" sldId="2147470017"/>
            <ac:spMk id="15" creationId="{ED871452-B14F-7E5B-268B-552A5D3C30B6}"/>
          </ac:spMkLst>
        </pc:spChg>
        <pc:grpChg chg="del">
          <ac:chgData name="Thomas Stensitzki" userId="75cafe6b-2f2a-469b-85c4-eec3b9c972ba" providerId="ADAL" clId="{D91A4310-FFA3-49CF-81D4-6E62CE1ACB5C}" dt="2022-08-22T06:08:00.260" v="162" actId="478"/>
          <ac:grpSpMkLst>
            <pc:docMk/>
            <pc:sldMk cId="3058860187" sldId="2147470017"/>
            <ac:grpSpMk id="10" creationId="{9DB45051-7485-3DD3-3C64-1242B3BCE7B1}"/>
          </ac:grpSpMkLst>
        </pc:grpChg>
        <pc:picChg chg="mod">
          <ac:chgData name="Thomas Stensitzki" userId="75cafe6b-2f2a-469b-85c4-eec3b9c972ba" providerId="ADAL" clId="{D91A4310-FFA3-49CF-81D4-6E62CE1ACB5C}" dt="2022-08-22T06:05:12.203" v="149" actId="1076"/>
          <ac:picMkLst>
            <pc:docMk/>
            <pc:sldMk cId="3058860187" sldId="2147470017"/>
            <ac:picMk id="5" creationId="{5E262E9F-3EC2-6E8A-8BC1-A5544DA8DC43}"/>
          </ac:picMkLst>
        </pc:picChg>
      </pc:sldChg>
      <pc:sldChg chg="addSp delSp modSp mod ord modClrScheme chgLayout modNotes">
        <pc:chgData name="Thomas Stensitzki" userId="75cafe6b-2f2a-469b-85c4-eec3b9c972ba" providerId="ADAL" clId="{D91A4310-FFA3-49CF-81D4-6E62CE1ACB5C}" dt="2022-08-27T11:12:31.493" v="4197" actId="404"/>
        <pc:sldMkLst>
          <pc:docMk/>
          <pc:sldMk cId="1185588702" sldId="2147470018"/>
        </pc:sldMkLst>
        <pc:spChg chg="mod ord">
          <ac:chgData name="Thomas Stensitzki" userId="75cafe6b-2f2a-469b-85c4-eec3b9c972ba" providerId="ADAL" clId="{D91A4310-FFA3-49CF-81D4-6E62CE1ACB5C}" dt="2022-08-22T14:27:41.419" v="1490" actId="790"/>
          <ac:spMkLst>
            <pc:docMk/>
            <pc:sldMk cId="1185588702" sldId="2147470018"/>
            <ac:spMk id="2" creationId="{DE7E1FEF-7390-EB62-7825-92A702C277B8}"/>
          </ac:spMkLst>
        </pc:spChg>
        <pc:spChg chg="mod ord">
          <ac:chgData name="Thomas Stensitzki" userId="75cafe6b-2f2a-469b-85c4-eec3b9c972ba" providerId="ADAL" clId="{D91A4310-FFA3-49CF-81D4-6E62CE1ACB5C}" dt="2022-08-22T14:27:41.424" v="1491" actId="790"/>
          <ac:spMkLst>
            <pc:docMk/>
            <pc:sldMk cId="1185588702" sldId="2147470018"/>
            <ac:spMk id="3" creationId="{65FDD74A-8F42-397C-1205-A9DF12F47D16}"/>
          </ac:spMkLst>
        </pc:spChg>
        <pc:spChg chg="del mod">
          <ac:chgData name="Thomas Stensitzki" userId="75cafe6b-2f2a-469b-85c4-eec3b9c972ba" providerId="ADAL" clId="{D91A4310-FFA3-49CF-81D4-6E62CE1ACB5C}" dt="2022-08-22T06:19:26.157" v="430" actId="478"/>
          <ac:spMkLst>
            <pc:docMk/>
            <pc:sldMk cId="1185588702" sldId="2147470018"/>
            <ac:spMk id="4" creationId="{7362DD39-B824-84D7-414D-6CC27D270844}"/>
          </ac:spMkLst>
        </pc:spChg>
        <pc:spChg chg="add del mod ord">
          <ac:chgData name="Thomas Stensitzki" userId="75cafe6b-2f2a-469b-85c4-eec3b9c972ba" providerId="ADAL" clId="{D91A4310-FFA3-49CF-81D4-6E62CE1ACB5C}" dt="2022-08-22T06:11:15.096" v="246" actId="700"/>
          <ac:spMkLst>
            <pc:docMk/>
            <pc:sldMk cId="1185588702" sldId="2147470018"/>
            <ac:spMk id="5" creationId="{74D050E0-A4C4-5F1B-D1D9-8E03FE7B5A43}"/>
          </ac:spMkLst>
        </pc:spChg>
        <pc:spChg chg="add mod ord">
          <ac:chgData name="Thomas Stensitzki" userId="75cafe6b-2f2a-469b-85c4-eec3b9c972ba" providerId="ADAL" clId="{D91A4310-FFA3-49CF-81D4-6E62CE1ACB5C}" dt="2022-08-27T11:12:31.493" v="4197" actId="404"/>
          <ac:spMkLst>
            <pc:docMk/>
            <pc:sldMk cId="1185588702" sldId="2147470018"/>
            <ac:spMk id="6" creationId="{BB67A1B6-8D46-D83C-1699-8C64492F52F2}"/>
          </ac:spMkLst>
        </pc:spChg>
      </pc:sldChg>
      <pc:sldChg chg="addSp delSp modSp mod modNotes">
        <pc:chgData name="Thomas Stensitzki" userId="75cafe6b-2f2a-469b-85c4-eec3b9c972ba" providerId="ADAL" clId="{D91A4310-FFA3-49CF-81D4-6E62CE1ACB5C}" dt="2022-08-27T11:16:22.339" v="4264" actId="1076"/>
        <pc:sldMkLst>
          <pc:docMk/>
          <pc:sldMk cId="2143166921" sldId="2147470019"/>
        </pc:sldMkLst>
        <pc:spChg chg="mod">
          <ac:chgData name="Thomas Stensitzki" userId="75cafe6b-2f2a-469b-85c4-eec3b9c972ba" providerId="ADAL" clId="{D91A4310-FFA3-49CF-81D4-6E62CE1ACB5C}" dt="2022-08-22T14:27:41.433" v="1495" actId="790"/>
          <ac:spMkLst>
            <pc:docMk/>
            <pc:sldMk cId="2143166921" sldId="2147470019"/>
            <ac:spMk id="2" creationId="{3A137943-39D5-B2B2-E63A-F92FE74F8D64}"/>
          </ac:spMkLst>
        </pc:spChg>
        <pc:spChg chg="mod">
          <ac:chgData name="Thomas Stensitzki" userId="75cafe6b-2f2a-469b-85c4-eec3b9c972ba" providerId="ADAL" clId="{D91A4310-FFA3-49CF-81D4-6E62CE1ACB5C}" dt="2022-08-22T14:27:41.435" v="1496" actId="790"/>
          <ac:spMkLst>
            <pc:docMk/>
            <pc:sldMk cId="2143166921" sldId="2147470019"/>
            <ac:spMk id="3" creationId="{14CF82A2-3119-5FEC-E8C2-2258A3A0FF16}"/>
          </ac:spMkLst>
        </pc:spChg>
        <pc:spChg chg="mod">
          <ac:chgData name="Thomas Stensitzki" userId="75cafe6b-2f2a-469b-85c4-eec3b9c972ba" providerId="ADAL" clId="{D91A4310-FFA3-49CF-81D4-6E62CE1ACB5C}" dt="2022-08-22T14:27:41.436" v="1497" actId="790"/>
          <ac:spMkLst>
            <pc:docMk/>
            <pc:sldMk cId="2143166921" sldId="2147470019"/>
            <ac:spMk id="4" creationId="{5C2CDC46-D40D-683D-1CED-5E90BE9A4360}"/>
          </ac:spMkLst>
        </pc:spChg>
        <pc:spChg chg="mod">
          <ac:chgData name="Thomas Stensitzki" userId="75cafe6b-2f2a-469b-85c4-eec3b9c972ba" providerId="ADAL" clId="{D91A4310-FFA3-49CF-81D4-6E62CE1ACB5C}" dt="2022-08-22T14:27:41.436" v="1498" actId="790"/>
          <ac:spMkLst>
            <pc:docMk/>
            <pc:sldMk cId="2143166921" sldId="2147470019"/>
            <ac:spMk id="6" creationId="{9AC5BBCA-D49F-B578-A6BE-D56B645673B1}"/>
          </ac:spMkLst>
        </pc:spChg>
        <pc:spChg chg="mod">
          <ac:chgData name="Thomas Stensitzki" userId="75cafe6b-2f2a-469b-85c4-eec3b9c972ba" providerId="ADAL" clId="{D91A4310-FFA3-49CF-81D4-6E62CE1ACB5C}" dt="2022-08-22T14:27:41.440" v="1499" actId="790"/>
          <ac:spMkLst>
            <pc:docMk/>
            <pc:sldMk cId="2143166921" sldId="2147470019"/>
            <ac:spMk id="8" creationId="{B3FD469F-DB40-0853-E5ED-9FC3803FD4B0}"/>
          </ac:spMkLst>
        </pc:spChg>
        <pc:spChg chg="add mod">
          <ac:chgData name="Thomas Stensitzki" userId="75cafe6b-2f2a-469b-85c4-eec3b9c972ba" providerId="ADAL" clId="{D91A4310-FFA3-49CF-81D4-6E62CE1ACB5C}" dt="2022-08-22T14:27:41.442" v="1500" actId="790"/>
          <ac:spMkLst>
            <pc:docMk/>
            <pc:sldMk cId="2143166921" sldId="2147470019"/>
            <ac:spMk id="13" creationId="{156FFA64-D16B-8E93-C8A6-FC01FAD60792}"/>
          </ac:spMkLst>
        </pc:spChg>
        <pc:picChg chg="del">
          <ac:chgData name="Thomas Stensitzki" userId="75cafe6b-2f2a-469b-85c4-eec3b9c972ba" providerId="ADAL" clId="{D91A4310-FFA3-49CF-81D4-6E62CE1ACB5C}" dt="2022-08-22T06:22:01.372" v="608" actId="478"/>
          <ac:picMkLst>
            <pc:docMk/>
            <pc:sldMk cId="2143166921" sldId="2147470019"/>
            <ac:picMk id="5" creationId="{191F28B7-1603-D505-2BEC-D55C24764D55}"/>
          </ac:picMkLst>
        </pc:picChg>
        <pc:picChg chg="add mod">
          <ac:chgData name="Thomas Stensitzki" userId="75cafe6b-2f2a-469b-85c4-eec3b9c972ba" providerId="ADAL" clId="{D91A4310-FFA3-49CF-81D4-6E62CE1ACB5C}" dt="2022-08-27T11:16:22.339" v="4264" actId="1076"/>
          <ac:picMkLst>
            <pc:docMk/>
            <pc:sldMk cId="2143166921" sldId="2147470019"/>
            <ac:picMk id="7" creationId="{9D9AF049-880A-B79B-4067-AC4BEE8656D6}"/>
          </ac:picMkLst>
        </pc:picChg>
        <pc:picChg chg="del">
          <ac:chgData name="Thomas Stensitzki" userId="75cafe6b-2f2a-469b-85c4-eec3b9c972ba" providerId="ADAL" clId="{D91A4310-FFA3-49CF-81D4-6E62CE1ACB5C}" dt="2022-08-22T06:22:02.413" v="609" actId="478"/>
          <ac:picMkLst>
            <pc:docMk/>
            <pc:sldMk cId="2143166921" sldId="2147470019"/>
            <ac:picMk id="7" creationId="{C425EBD1-59DF-DA7C-0858-656691A219A5}"/>
          </ac:picMkLst>
        </pc:picChg>
        <pc:picChg chg="add mod">
          <ac:chgData name="Thomas Stensitzki" userId="75cafe6b-2f2a-469b-85c4-eec3b9c972ba" providerId="ADAL" clId="{D91A4310-FFA3-49CF-81D4-6E62CE1ACB5C}" dt="2022-08-22T06:32:33.582" v="635" actId="14100"/>
          <ac:picMkLst>
            <pc:docMk/>
            <pc:sldMk cId="2143166921" sldId="2147470019"/>
            <ac:picMk id="9" creationId="{69219512-2E39-59FB-F33E-8A644A2456EE}"/>
          </ac:picMkLst>
        </pc:picChg>
        <pc:picChg chg="add mod">
          <ac:chgData name="Thomas Stensitzki" userId="75cafe6b-2f2a-469b-85c4-eec3b9c972ba" providerId="ADAL" clId="{D91A4310-FFA3-49CF-81D4-6E62CE1ACB5C}" dt="2022-08-22T06:31:15.955" v="621" actId="1076"/>
          <ac:picMkLst>
            <pc:docMk/>
            <pc:sldMk cId="2143166921" sldId="2147470019"/>
            <ac:picMk id="10" creationId="{EC248E44-5F08-6C84-B70E-C360A8BA952C}"/>
          </ac:picMkLst>
        </pc:picChg>
        <pc:picChg chg="add mod">
          <ac:chgData name="Thomas Stensitzki" userId="75cafe6b-2f2a-469b-85c4-eec3b9c972ba" providerId="ADAL" clId="{D91A4310-FFA3-49CF-81D4-6E62CE1ACB5C}" dt="2022-08-22T06:34:09.629" v="716" actId="1076"/>
          <ac:picMkLst>
            <pc:docMk/>
            <pc:sldMk cId="2143166921" sldId="2147470019"/>
            <ac:picMk id="12" creationId="{335D9D51-220A-5A41-DEBB-3809364B82C3}"/>
          </ac:picMkLst>
        </pc:picChg>
        <pc:picChg chg="add mod">
          <ac:chgData name="Thomas Stensitzki" userId="75cafe6b-2f2a-469b-85c4-eec3b9c972ba" providerId="ADAL" clId="{D91A4310-FFA3-49CF-81D4-6E62CE1ACB5C}" dt="2022-08-22T06:34:57.736" v="719" actId="1076"/>
          <ac:picMkLst>
            <pc:docMk/>
            <pc:sldMk cId="2143166921" sldId="2147470019"/>
            <ac:picMk id="15" creationId="{84736BAB-A63A-4D8B-8007-8CDBC2B56CB1}"/>
          </ac:picMkLst>
        </pc:picChg>
        <pc:picChg chg="add mod">
          <ac:chgData name="Thomas Stensitzki" userId="75cafe6b-2f2a-469b-85c4-eec3b9c972ba" providerId="ADAL" clId="{D91A4310-FFA3-49CF-81D4-6E62CE1ACB5C}" dt="2022-08-22T06:35:06.318" v="721" actId="1076"/>
          <ac:picMkLst>
            <pc:docMk/>
            <pc:sldMk cId="2143166921" sldId="2147470019"/>
            <ac:picMk id="17" creationId="{282E81A7-8679-EF2D-45F9-A20EFA0A9562}"/>
          </ac:picMkLst>
        </pc:picChg>
        <pc:picChg chg="add mod">
          <ac:chgData name="Thomas Stensitzki" userId="75cafe6b-2f2a-469b-85c4-eec3b9c972ba" providerId="ADAL" clId="{D91A4310-FFA3-49CF-81D4-6E62CE1ACB5C}" dt="2022-08-22T06:35:12.211" v="723" actId="1076"/>
          <ac:picMkLst>
            <pc:docMk/>
            <pc:sldMk cId="2143166921" sldId="2147470019"/>
            <ac:picMk id="19" creationId="{AE43F551-748F-7076-827B-E187E1B5FE93}"/>
          </ac:picMkLst>
        </pc:picChg>
      </pc:sldChg>
      <pc:sldChg chg="modSp del mod modNotes">
        <pc:chgData name="Thomas Stensitzki" userId="75cafe6b-2f2a-469b-85c4-eec3b9c972ba" providerId="ADAL" clId="{D91A4310-FFA3-49CF-81D4-6E62CE1ACB5C}" dt="2022-08-27T11:53:17.785" v="5197" actId="47"/>
        <pc:sldMkLst>
          <pc:docMk/>
          <pc:sldMk cId="2818523232" sldId="2147470020"/>
        </pc:sldMkLst>
        <pc:spChg chg="mod">
          <ac:chgData name="Thomas Stensitzki" userId="75cafe6b-2f2a-469b-85c4-eec3b9c972ba" providerId="ADAL" clId="{D91A4310-FFA3-49CF-81D4-6E62CE1ACB5C}" dt="2022-08-22T14:27:41.464" v="1519" actId="790"/>
          <ac:spMkLst>
            <pc:docMk/>
            <pc:sldMk cId="2818523232" sldId="2147470020"/>
            <ac:spMk id="2" creationId="{A6B8E1A2-0F93-2C21-738E-CEBE3B01B1C8}"/>
          </ac:spMkLst>
        </pc:spChg>
        <pc:spChg chg="mod">
          <ac:chgData name="Thomas Stensitzki" userId="75cafe6b-2f2a-469b-85c4-eec3b9c972ba" providerId="ADAL" clId="{D91A4310-FFA3-49CF-81D4-6E62CE1ACB5C}" dt="2022-08-22T14:27:41.472" v="1520" actId="790"/>
          <ac:spMkLst>
            <pc:docMk/>
            <pc:sldMk cId="2818523232" sldId="2147470020"/>
            <ac:spMk id="3" creationId="{BE3A789D-2ACD-525C-C372-31DA8255DAE3}"/>
          </ac:spMkLst>
        </pc:spChg>
      </pc:sldChg>
      <pc:sldChg chg="modSp mod modNotes">
        <pc:chgData name="Thomas Stensitzki" userId="75cafe6b-2f2a-469b-85c4-eec3b9c972ba" providerId="ADAL" clId="{D91A4310-FFA3-49CF-81D4-6E62CE1ACB5C}" dt="2022-08-27T11:07:33.379" v="3991" actId="404"/>
        <pc:sldMkLst>
          <pc:docMk/>
          <pc:sldMk cId="3809413378" sldId="2147470021"/>
        </pc:sldMkLst>
        <pc:spChg chg="mod">
          <ac:chgData name="Thomas Stensitzki" userId="75cafe6b-2f2a-469b-85c4-eec3b9c972ba" providerId="ADAL" clId="{D91A4310-FFA3-49CF-81D4-6E62CE1ACB5C}" dt="2022-08-22T14:27:41.482" v="1527" actId="790"/>
          <ac:spMkLst>
            <pc:docMk/>
            <pc:sldMk cId="3809413378" sldId="2147470021"/>
            <ac:spMk id="2" creationId="{C446FCD0-C54B-A233-ED4D-24D4C83A4FD2}"/>
          </ac:spMkLst>
        </pc:spChg>
        <pc:spChg chg="mod">
          <ac:chgData name="Thomas Stensitzki" userId="75cafe6b-2f2a-469b-85c4-eec3b9c972ba" providerId="ADAL" clId="{D91A4310-FFA3-49CF-81D4-6E62CE1ACB5C}" dt="2022-08-27T11:07:33.379" v="3991" actId="404"/>
          <ac:spMkLst>
            <pc:docMk/>
            <pc:sldMk cId="3809413378" sldId="2147470021"/>
            <ac:spMk id="3" creationId="{8A8627BE-01A5-2F2C-62DD-9958265C1243}"/>
          </ac:spMkLst>
        </pc:spChg>
      </pc:sldChg>
      <pc:sldChg chg="modSp add mod ord modNotes">
        <pc:chgData name="Thomas Stensitzki" userId="75cafe6b-2f2a-469b-85c4-eec3b9c972ba" providerId="ADAL" clId="{D91A4310-FFA3-49CF-81D4-6E62CE1ACB5C}" dt="2022-08-27T11:17:19.638" v="4354" actId="20577"/>
        <pc:sldMkLst>
          <pc:docMk/>
          <pc:sldMk cId="189657053" sldId="2147470022"/>
        </pc:sldMkLst>
        <pc:spChg chg="mod">
          <ac:chgData name="Thomas Stensitzki" userId="75cafe6b-2f2a-469b-85c4-eec3b9c972ba" providerId="ADAL" clId="{D91A4310-FFA3-49CF-81D4-6E62CE1ACB5C}" dt="2022-08-22T14:27:41.450" v="1507" actId="790"/>
          <ac:spMkLst>
            <pc:docMk/>
            <pc:sldMk cId="189657053" sldId="2147470022"/>
            <ac:spMk id="2" creationId="{4C6B0AC2-B025-A989-29BA-1470A02C5A41}"/>
          </ac:spMkLst>
        </pc:spChg>
        <pc:spChg chg="mod">
          <ac:chgData name="Thomas Stensitzki" userId="75cafe6b-2f2a-469b-85c4-eec3b9c972ba" providerId="ADAL" clId="{D91A4310-FFA3-49CF-81D4-6E62CE1ACB5C}" dt="2022-08-27T11:17:19.638" v="4354" actId="20577"/>
          <ac:spMkLst>
            <pc:docMk/>
            <pc:sldMk cId="189657053" sldId="2147470022"/>
            <ac:spMk id="5" creationId="{8A260745-9B2D-414D-56A1-E59273CA8053}"/>
          </ac:spMkLst>
        </pc:spChg>
      </pc:sldChg>
      <pc:sldChg chg="add del">
        <pc:chgData name="Thomas Stensitzki" userId="75cafe6b-2f2a-469b-85c4-eec3b9c972ba" providerId="ADAL" clId="{D91A4310-FFA3-49CF-81D4-6E62CE1ACB5C}" dt="2022-08-22T06:10:28.186" v="211" actId="2890"/>
        <pc:sldMkLst>
          <pc:docMk/>
          <pc:sldMk cId="3077001269" sldId="2147470022"/>
        </pc:sldMkLst>
      </pc:sldChg>
      <pc:sldChg chg="modSp new mod modNotes">
        <pc:chgData name="Thomas Stensitzki" userId="75cafe6b-2f2a-469b-85c4-eec3b9c972ba" providerId="ADAL" clId="{D91A4310-FFA3-49CF-81D4-6E62CE1ACB5C}" dt="2022-08-27T11:53:04.760" v="5196" actId="20577"/>
        <pc:sldMkLst>
          <pc:docMk/>
          <pc:sldMk cId="119372799" sldId="2147470023"/>
        </pc:sldMkLst>
        <pc:spChg chg="mod">
          <ac:chgData name="Thomas Stensitzki" userId="75cafe6b-2f2a-469b-85c4-eec3b9c972ba" providerId="ADAL" clId="{D91A4310-FFA3-49CF-81D4-6E62CE1ACB5C}" dt="2022-08-27T11:22:53.742" v="4758"/>
          <ac:spMkLst>
            <pc:docMk/>
            <pc:sldMk cId="119372799" sldId="2147470023"/>
            <ac:spMk id="2" creationId="{2EAD384D-7465-16EA-6C1D-CCFAD845BDBA}"/>
          </ac:spMkLst>
        </pc:spChg>
        <pc:spChg chg="mod">
          <ac:chgData name="Thomas Stensitzki" userId="75cafe6b-2f2a-469b-85c4-eec3b9c972ba" providerId="ADAL" clId="{D91A4310-FFA3-49CF-81D4-6E62CE1ACB5C}" dt="2022-08-27T11:53:04.760" v="5196" actId="20577"/>
          <ac:spMkLst>
            <pc:docMk/>
            <pc:sldMk cId="119372799" sldId="2147470023"/>
            <ac:spMk id="3" creationId="{51E8338C-B20B-9634-8F4B-289E726FC8EF}"/>
          </ac:spMkLst>
        </pc:spChg>
      </pc:sldChg>
      <pc:sldChg chg="addSp delSp modSp new mod modTransition modClrScheme modAnim chgLayout modNotes">
        <pc:chgData name="Thomas Stensitzki" userId="75cafe6b-2f2a-469b-85c4-eec3b9c972ba" providerId="ADAL" clId="{D91A4310-FFA3-49CF-81D4-6E62CE1ACB5C}" dt="2022-08-22T14:27:41.385" v="1460" actId="790"/>
        <pc:sldMkLst>
          <pc:docMk/>
          <pc:sldMk cId="2590057525" sldId="2147470024"/>
        </pc:sldMkLst>
        <pc:spChg chg="del mod ord">
          <ac:chgData name="Thomas Stensitzki" userId="75cafe6b-2f2a-469b-85c4-eec3b9c972ba" providerId="ADAL" clId="{D91A4310-FFA3-49CF-81D4-6E62CE1ACB5C}" dt="2022-08-22T14:15:47.838" v="874" actId="700"/>
          <ac:spMkLst>
            <pc:docMk/>
            <pc:sldMk cId="2590057525" sldId="2147470024"/>
            <ac:spMk id="2" creationId="{59A6DB40-D4F0-B63A-AD9B-D4893BACE3B0}"/>
          </ac:spMkLst>
        </pc:spChg>
        <pc:spChg chg="del">
          <ac:chgData name="Thomas Stensitzki" userId="75cafe6b-2f2a-469b-85c4-eec3b9c972ba" providerId="ADAL" clId="{D91A4310-FFA3-49CF-81D4-6E62CE1ACB5C}" dt="2022-08-22T14:15:47.838" v="874" actId="700"/>
          <ac:spMkLst>
            <pc:docMk/>
            <pc:sldMk cId="2590057525" sldId="2147470024"/>
            <ac:spMk id="3" creationId="{2B6DC568-D38A-9C62-5387-953384EE1447}"/>
          </ac:spMkLst>
        </pc:spChg>
        <pc:spChg chg="add mod ord">
          <ac:chgData name="Thomas Stensitzki" userId="75cafe6b-2f2a-469b-85c4-eec3b9c972ba" providerId="ADAL" clId="{D91A4310-FFA3-49CF-81D4-6E62CE1ACB5C}" dt="2022-08-22T14:27:41.367" v="1445"/>
          <ac:spMkLst>
            <pc:docMk/>
            <pc:sldMk cId="2590057525" sldId="2147470024"/>
            <ac:spMk id="4" creationId="{6F8DFDE0-6F89-8C9E-7EC3-468429654B1C}"/>
          </ac:spMkLst>
        </pc:spChg>
        <pc:spChg chg="add mod">
          <ac:chgData name="Thomas Stensitzki" userId="75cafe6b-2f2a-469b-85c4-eec3b9c972ba" providerId="ADAL" clId="{D91A4310-FFA3-49CF-81D4-6E62CE1ACB5C}" dt="2022-08-22T14:27:41.368" v="1446"/>
          <ac:spMkLst>
            <pc:docMk/>
            <pc:sldMk cId="2590057525" sldId="2147470024"/>
            <ac:spMk id="5" creationId="{76319416-B0FA-C7A4-7C67-C4AE391E4749}"/>
          </ac:spMkLst>
        </pc:spChg>
        <pc:spChg chg="add mod">
          <ac:chgData name="Thomas Stensitzki" userId="75cafe6b-2f2a-469b-85c4-eec3b9c972ba" providerId="ADAL" clId="{D91A4310-FFA3-49CF-81D4-6E62CE1ACB5C}" dt="2022-08-22T14:27:41.369" v="1447"/>
          <ac:spMkLst>
            <pc:docMk/>
            <pc:sldMk cId="2590057525" sldId="2147470024"/>
            <ac:spMk id="6" creationId="{5E3EE67E-E6A5-367D-4EFE-E8CC39AE87E6}"/>
          </ac:spMkLst>
        </pc:spChg>
        <pc:spChg chg="add mod">
          <ac:chgData name="Thomas Stensitzki" userId="75cafe6b-2f2a-469b-85c4-eec3b9c972ba" providerId="ADAL" clId="{D91A4310-FFA3-49CF-81D4-6E62CE1ACB5C}" dt="2022-08-22T14:27:41.369" v="1448"/>
          <ac:spMkLst>
            <pc:docMk/>
            <pc:sldMk cId="2590057525" sldId="2147470024"/>
            <ac:spMk id="7" creationId="{197EB2A9-7695-1746-2429-7FB16842EE1B}"/>
          </ac:spMkLst>
        </pc:spChg>
        <pc:spChg chg="add mod">
          <ac:chgData name="Thomas Stensitzki" userId="75cafe6b-2f2a-469b-85c4-eec3b9c972ba" providerId="ADAL" clId="{D91A4310-FFA3-49CF-81D4-6E62CE1ACB5C}" dt="2022-08-22T14:27:41.370" v="1449"/>
          <ac:spMkLst>
            <pc:docMk/>
            <pc:sldMk cId="2590057525" sldId="2147470024"/>
            <ac:spMk id="8" creationId="{3DA49B73-7CBF-E0C1-023A-B883E96DB529}"/>
          </ac:spMkLst>
        </pc:spChg>
        <pc:spChg chg="add mod">
          <ac:chgData name="Thomas Stensitzki" userId="75cafe6b-2f2a-469b-85c4-eec3b9c972ba" providerId="ADAL" clId="{D91A4310-FFA3-49CF-81D4-6E62CE1ACB5C}" dt="2022-08-22T14:27:41.371" v="1450"/>
          <ac:spMkLst>
            <pc:docMk/>
            <pc:sldMk cId="2590057525" sldId="2147470024"/>
            <ac:spMk id="9" creationId="{5DE1A266-02A4-43D5-C2B1-7B8C13C4751D}"/>
          </ac:spMkLst>
        </pc:spChg>
        <pc:spChg chg="add mod">
          <ac:chgData name="Thomas Stensitzki" userId="75cafe6b-2f2a-469b-85c4-eec3b9c972ba" providerId="ADAL" clId="{D91A4310-FFA3-49CF-81D4-6E62CE1ACB5C}" dt="2022-08-22T14:27:41.371" v="1451"/>
          <ac:spMkLst>
            <pc:docMk/>
            <pc:sldMk cId="2590057525" sldId="2147470024"/>
            <ac:spMk id="10" creationId="{78380A5D-65B8-35DC-473E-7FB01CCC02C7}"/>
          </ac:spMkLst>
        </pc:spChg>
        <pc:spChg chg="add mod">
          <ac:chgData name="Thomas Stensitzki" userId="75cafe6b-2f2a-469b-85c4-eec3b9c972ba" providerId="ADAL" clId="{D91A4310-FFA3-49CF-81D4-6E62CE1ACB5C}" dt="2022-08-22T14:27:41.372" v="1452"/>
          <ac:spMkLst>
            <pc:docMk/>
            <pc:sldMk cId="2590057525" sldId="2147470024"/>
            <ac:spMk id="11" creationId="{08107476-8B87-E74F-28BB-CD68030187F1}"/>
          </ac:spMkLst>
        </pc:spChg>
        <pc:spChg chg="add mod">
          <ac:chgData name="Thomas Stensitzki" userId="75cafe6b-2f2a-469b-85c4-eec3b9c972ba" providerId="ADAL" clId="{D91A4310-FFA3-49CF-81D4-6E62CE1ACB5C}" dt="2022-08-22T14:27:41.372" v="1453"/>
          <ac:spMkLst>
            <pc:docMk/>
            <pc:sldMk cId="2590057525" sldId="2147470024"/>
            <ac:spMk id="12" creationId="{44F8026D-46D3-0546-C07C-BA4A346C4029}"/>
          </ac:spMkLst>
        </pc:spChg>
        <pc:spChg chg="add mod">
          <ac:chgData name="Thomas Stensitzki" userId="75cafe6b-2f2a-469b-85c4-eec3b9c972ba" providerId="ADAL" clId="{D91A4310-FFA3-49CF-81D4-6E62CE1ACB5C}" dt="2022-08-22T14:27:41.373" v="1454"/>
          <ac:spMkLst>
            <pc:docMk/>
            <pc:sldMk cId="2590057525" sldId="2147470024"/>
            <ac:spMk id="13" creationId="{95C71AB2-38B8-AD9B-FBE4-912F74C6D23E}"/>
          </ac:spMkLst>
        </pc:spChg>
        <pc:spChg chg="add mod">
          <ac:chgData name="Thomas Stensitzki" userId="75cafe6b-2f2a-469b-85c4-eec3b9c972ba" providerId="ADAL" clId="{D91A4310-FFA3-49CF-81D4-6E62CE1ACB5C}" dt="2022-08-22T14:27:41.374" v="1455"/>
          <ac:spMkLst>
            <pc:docMk/>
            <pc:sldMk cId="2590057525" sldId="2147470024"/>
            <ac:spMk id="14" creationId="{CA855354-5A9D-CA7A-DAE9-7B548084FE86}"/>
          </ac:spMkLst>
        </pc:spChg>
        <pc:spChg chg="add mod">
          <ac:chgData name="Thomas Stensitzki" userId="75cafe6b-2f2a-469b-85c4-eec3b9c972ba" providerId="ADAL" clId="{D91A4310-FFA3-49CF-81D4-6E62CE1ACB5C}" dt="2022-08-22T14:27:41.375" v="1456"/>
          <ac:spMkLst>
            <pc:docMk/>
            <pc:sldMk cId="2590057525" sldId="2147470024"/>
            <ac:spMk id="15" creationId="{BDE8CC02-B009-E29D-74C2-9006830DDD78}"/>
          </ac:spMkLst>
        </pc:spChg>
        <pc:spChg chg="add mod">
          <ac:chgData name="Thomas Stensitzki" userId="75cafe6b-2f2a-469b-85c4-eec3b9c972ba" providerId="ADAL" clId="{D91A4310-FFA3-49CF-81D4-6E62CE1ACB5C}" dt="2022-08-22T14:27:41.376" v="1457"/>
          <ac:spMkLst>
            <pc:docMk/>
            <pc:sldMk cId="2590057525" sldId="2147470024"/>
            <ac:spMk id="16" creationId="{B78D0CB6-8FDE-0DCB-8704-9C3C8AA5204C}"/>
          </ac:spMkLst>
        </pc:spChg>
        <pc:spChg chg="add mod">
          <ac:chgData name="Thomas Stensitzki" userId="75cafe6b-2f2a-469b-85c4-eec3b9c972ba" providerId="ADAL" clId="{D91A4310-FFA3-49CF-81D4-6E62CE1ACB5C}" dt="2022-08-22T14:27:41.377" v="1458"/>
          <ac:spMkLst>
            <pc:docMk/>
            <pc:sldMk cId="2590057525" sldId="2147470024"/>
            <ac:spMk id="17" creationId="{A8A1E418-773C-F13E-F819-74091BF61917}"/>
          </ac:spMkLst>
        </pc:spChg>
        <pc:spChg chg="add del mod">
          <ac:chgData name="Thomas Stensitzki" userId="75cafe6b-2f2a-469b-85c4-eec3b9c972ba" providerId="ADAL" clId="{D91A4310-FFA3-49CF-81D4-6E62CE1ACB5C}" dt="2022-08-22T14:17:34.715" v="945"/>
          <ac:spMkLst>
            <pc:docMk/>
            <pc:sldMk cId="2590057525" sldId="2147470024"/>
            <ac:spMk id="27" creationId="{6EFE1E2E-D970-BDD2-5D3A-F422FEAD8175}"/>
          </ac:spMkLst>
        </pc:spChg>
        <pc:spChg chg="add del mod">
          <ac:chgData name="Thomas Stensitzki" userId="75cafe6b-2f2a-469b-85c4-eec3b9c972ba" providerId="ADAL" clId="{D91A4310-FFA3-49CF-81D4-6E62CE1ACB5C}" dt="2022-08-22T14:17:34.715" v="945"/>
          <ac:spMkLst>
            <pc:docMk/>
            <pc:sldMk cId="2590057525" sldId="2147470024"/>
            <ac:spMk id="28" creationId="{54FF306E-0C3E-247C-DA13-DC98C1CA304A}"/>
          </ac:spMkLst>
        </pc:spChg>
        <pc:spChg chg="add del mod">
          <ac:chgData name="Thomas Stensitzki" userId="75cafe6b-2f2a-469b-85c4-eec3b9c972ba" providerId="ADAL" clId="{D91A4310-FFA3-49CF-81D4-6E62CE1ACB5C}" dt="2022-08-22T14:17:34.715" v="945"/>
          <ac:spMkLst>
            <pc:docMk/>
            <pc:sldMk cId="2590057525" sldId="2147470024"/>
            <ac:spMk id="29" creationId="{0C6F20A0-E701-38E9-BD34-E8E166D820C9}"/>
          </ac:spMkLst>
        </pc:spChg>
        <pc:spChg chg="add del mod">
          <ac:chgData name="Thomas Stensitzki" userId="75cafe6b-2f2a-469b-85c4-eec3b9c972ba" providerId="ADAL" clId="{D91A4310-FFA3-49CF-81D4-6E62CE1ACB5C}" dt="2022-08-22T14:17:34.715" v="945"/>
          <ac:spMkLst>
            <pc:docMk/>
            <pc:sldMk cId="2590057525" sldId="2147470024"/>
            <ac:spMk id="30" creationId="{E1CE63DC-6610-EB33-DC69-2B2A95882598}"/>
          </ac:spMkLst>
        </pc:spChg>
        <pc:spChg chg="add del mod">
          <ac:chgData name="Thomas Stensitzki" userId="75cafe6b-2f2a-469b-85c4-eec3b9c972ba" providerId="ADAL" clId="{D91A4310-FFA3-49CF-81D4-6E62CE1ACB5C}" dt="2022-08-22T14:17:34.715" v="945"/>
          <ac:spMkLst>
            <pc:docMk/>
            <pc:sldMk cId="2590057525" sldId="2147470024"/>
            <ac:spMk id="31" creationId="{1CA42C2F-D90D-BF07-543E-1F7A3F8D5317}"/>
          </ac:spMkLst>
        </pc:spChg>
        <pc:spChg chg="add del mod">
          <ac:chgData name="Thomas Stensitzki" userId="75cafe6b-2f2a-469b-85c4-eec3b9c972ba" providerId="ADAL" clId="{D91A4310-FFA3-49CF-81D4-6E62CE1ACB5C}" dt="2022-08-22T14:17:34.715" v="945"/>
          <ac:spMkLst>
            <pc:docMk/>
            <pc:sldMk cId="2590057525" sldId="2147470024"/>
            <ac:spMk id="32" creationId="{FBA256B7-C1EA-4DE8-C3EF-FCC02A5E4393}"/>
          </ac:spMkLst>
        </pc:spChg>
        <pc:spChg chg="add del mod">
          <ac:chgData name="Thomas Stensitzki" userId="75cafe6b-2f2a-469b-85c4-eec3b9c972ba" providerId="ADAL" clId="{D91A4310-FFA3-49CF-81D4-6E62CE1ACB5C}" dt="2022-08-22T14:17:34.715" v="945"/>
          <ac:spMkLst>
            <pc:docMk/>
            <pc:sldMk cId="2590057525" sldId="2147470024"/>
            <ac:spMk id="33" creationId="{53DA87A3-FE0D-7D7F-8703-9058046D7D6E}"/>
          </ac:spMkLst>
        </pc:spChg>
        <pc:spChg chg="add del mod">
          <ac:chgData name="Thomas Stensitzki" userId="75cafe6b-2f2a-469b-85c4-eec3b9c972ba" providerId="ADAL" clId="{D91A4310-FFA3-49CF-81D4-6E62CE1ACB5C}" dt="2022-08-22T14:17:34.715" v="945"/>
          <ac:spMkLst>
            <pc:docMk/>
            <pc:sldMk cId="2590057525" sldId="2147470024"/>
            <ac:spMk id="34" creationId="{17F6B252-1739-99C8-0135-3CBCC17D9D78}"/>
          </ac:spMkLst>
        </pc:spChg>
        <pc:spChg chg="add del mod">
          <ac:chgData name="Thomas Stensitzki" userId="75cafe6b-2f2a-469b-85c4-eec3b9c972ba" providerId="ADAL" clId="{D91A4310-FFA3-49CF-81D4-6E62CE1ACB5C}" dt="2022-08-22T14:17:34.715" v="945"/>
          <ac:spMkLst>
            <pc:docMk/>
            <pc:sldMk cId="2590057525" sldId="2147470024"/>
            <ac:spMk id="35" creationId="{E262CF79-EE40-2256-D30F-043B7547A7B9}"/>
          </ac:spMkLst>
        </pc:spChg>
        <pc:spChg chg="add del mod">
          <ac:chgData name="Thomas Stensitzki" userId="75cafe6b-2f2a-469b-85c4-eec3b9c972ba" providerId="ADAL" clId="{D91A4310-FFA3-49CF-81D4-6E62CE1ACB5C}" dt="2022-08-22T14:17:34.715" v="945"/>
          <ac:spMkLst>
            <pc:docMk/>
            <pc:sldMk cId="2590057525" sldId="2147470024"/>
            <ac:spMk id="36" creationId="{0FBA96D7-A074-0B81-A0B5-C7CD13A39516}"/>
          </ac:spMkLst>
        </pc:spChg>
        <pc:spChg chg="add del mod">
          <ac:chgData name="Thomas Stensitzki" userId="75cafe6b-2f2a-469b-85c4-eec3b9c972ba" providerId="ADAL" clId="{D91A4310-FFA3-49CF-81D4-6E62CE1ACB5C}" dt="2022-08-22T14:17:34.715" v="945"/>
          <ac:spMkLst>
            <pc:docMk/>
            <pc:sldMk cId="2590057525" sldId="2147470024"/>
            <ac:spMk id="37" creationId="{3B32FC3F-4162-8949-97E8-685E66488AF1}"/>
          </ac:spMkLst>
        </pc:spChg>
        <pc:spChg chg="add del mod">
          <ac:chgData name="Thomas Stensitzki" userId="75cafe6b-2f2a-469b-85c4-eec3b9c972ba" providerId="ADAL" clId="{D91A4310-FFA3-49CF-81D4-6E62CE1ACB5C}" dt="2022-08-22T14:17:34.715" v="945"/>
          <ac:spMkLst>
            <pc:docMk/>
            <pc:sldMk cId="2590057525" sldId="2147470024"/>
            <ac:spMk id="38" creationId="{A36EE0B0-1979-A93A-96EC-A47A645D4033}"/>
          </ac:spMkLst>
        </pc:spChg>
        <pc:spChg chg="add del mod">
          <ac:chgData name="Thomas Stensitzki" userId="75cafe6b-2f2a-469b-85c4-eec3b9c972ba" providerId="ADAL" clId="{D91A4310-FFA3-49CF-81D4-6E62CE1ACB5C}" dt="2022-08-22T14:17:34.715" v="945"/>
          <ac:spMkLst>
            <pc:docMk/>
            <pc:sldMk cId="2590057525" sldId="2147470024"/>
            <ac:spMk id="39" creationId="{29667944-C0E6-0584-4DBF-5D3601F1D833}"/>
          </ac:spMkLst>
        </pc:spChg>
        <pc:picChg chg="add mod">
          <ac:chgData name="Thomas Stensitzki" userId="75cafe6b-2f2a-469b-85c4-eec3b9c972ba" providerId="ADAL" clId="{D91A4310-FFA3-49CF-81D4-6E62CE1ACB5C}" dt="2022-08-22T14:16:36.854" v="919" actId="1076"/>
          <ac:picMkLst>
            <pc:docMk/>
            <pc:sldMk cId="2590057525" sldId="2147470024"/>
            <ac:picMk id="18" creationId="{ACABF833-64B4-F3CC-BB34-EDB2794D8A90}"/>
          </ac:picMkLst>
        </pc:picChg>
        <pc:picChg chg="add mod">
          <ac:chgData name="Thomas Stensitzki" userId="75cafe6b-2f2a-469b-85c4-eec3b9c972ba" providerId="ADAL" clId="{D91A4310-FFA3-49CF-81D4-6E62CE1ACB5C}" dt="2022-08-22T14:16:36.854" v="919" actId="1076"/>
          <ac:picMkLst>
            <pc:docMk/>
            <pc:sldMk cId="2590057525" sldId="2147470024"/>
            <ac:picMk id="19" creationId="{4006C00E-2618-06D2-7983-F3A22A6EA437}"/>
          </ac:picMkLst>
        </pc:picChg>
        <pc:picChg chg="add mod">
          <ac:chgData name="Thomas Stensitzki" userId="75cafe6b-2f2a-469b-85c4-eec3b9c972ba" providerId="ADAL" clId="{D91A4310-FFA3-49CF-81D4-6E62CE1ACB5C}" dt="2022-08-22T14:16:36.854" v="919" actId="1076"/>
          <ac:picMkLst>
            <pc:docMk/>
            <pc:sldMk cId="2590057525" sldId="2147470024"/>
            <ac:picMk id="20" creationId="{76692DE4-4EC5-8042-4F12-588A3A2436A6}"/>
          </ac:picMkLst>
        </pc:picChg>
        <pc:picChg chg="add mod">
          <ac:chgData name="Thomas Stensitzki" userId="75cafe6b-2f2a-469b-85c4-eec3b9c972ba" providerId="ADAL" clId="{D91A4310-FFA3-49CF-81D4-6E62CE1ACB5C}" dt="2022-08-22T14:16:36.854" v="919" actId="1076"/>
          <ac:picMkLst>
            <pc:docMk/>
            <pc:sldMk cId="2590057525" sldId="2147470024"/>
            <ac:picMk id="21" creationId="{2F3F805F-8861-FD16-EF3D-CBAB96CE83D2}"/>
          </ac:picMkLst>
        </pc:picChg>
        <pc:picChg chg="add mod">
          <ac:chgData name="Thomas Stensitzki" userId="75cafe6b-2f2a-469b-85c4-eec3b9c972ba" providerId="ADAL" clId="{D91A4310-FFA3-49CF-81D4-6E62CE1ACB5C}" dt="2022-08-22T14:16:36.854" v="919" actId="1076"/>
          <ac:picMkLst>
            <pc:docMk/>
            <pc:sldMk cId="2590057525" sldId="2147470024"/>
            <ac:picMk id="22" creationId="{D44B5B10-DF5D-2152-279E-2DDDD09F4199}"/>
          </ac:picMkLst>
        </pc:picChg>
        <pc:picChg chg="add mod">
          <ac:chgData name="Thomas Stensitzki" userId="75cafe6b-2f2a-469b-85c4-eec3b9c972ba" providerId="ADAL" clId="{D91A4310-FFA3-49CF-81D4-6E62CE1ACB5C}" dt="2022-08-22T14:16:36.854" v="919" actId="1076"/>
          <ac:picMkLst>
            <pc:docMk/>
            <pc:sldMk cId="2590057525" sldId="2147470024"/>
            <ac:picMk id="23" creationId="{F65762D6-0419-2AA3-735C-7F51A5F2D117}"/>
          </ac:picMkLst>
        </pc:picChg>
        <pc:picChg chg="add del mod">
          <ac:chgData name="Thomas Stensitzki" userId="75cafe6b-2f2a-469b-85c4-eec3b9c972ba" providerId="ADAL" clId="{D91A4310-FFA3-49CF-81D4-6E62CE1ACB5C}" dt="2022-08-22T14:17:34.715" v="945"/>
          <ac:picMkLst>
            <pc:docMk/>
            <pc:sldMk cId="2590057525" sldId="2147470024"/>
            <ac:picMk id="40" creationId="{95C70153-3C3B-8178-1201-FC48211BA025}"/>
          </ac:picMkLst>
        </pc:picChg>
        <pc:picChg chg="add del mod">
          <ac:chgData name="Thomas Stensitzki" userId="75cafe6b-2f2a-469b-85c4-eec3b9c972ba" providerId="ADAL" clId="{D91A4310-FFA3-49CF-81D4-6E62CE1ACB5C}" dt="2022-08-22T14:17:34.715" v="945"/>
          <ac:picMkLst>
            <pc:docMk/>
            <pc:sldMk cId="2590057525" sldId="2147470024"/>
            <ac:picMk id="41" creationId="{24D3CC07-085D-8031-2CDF-03EAD41FFE02}"/>
          </ac:picMkLst>
        </pc:picChg>
        <pc:picChg chg="add del mod">
          <ac:chgData name="Thomas Stensitzki" userId="75cafe6b-2f2a-469b-85c4-eec3b9c972ba" providerId="ADAL" clId="{D91A4310-FFA3-49CF-81D4-6E62CE1ACB5C}" dt="2022-08-22T14:17:34.715" v="945"/>
          <ac:picMkLst>
            <pc:docMk/>
            <pc:sldMk cId="2590057525" sldId="2147470024"/>
            <ac:picMk id="42" creationId="{1352A002-D8C7-877A-F680-B55AC81525F3}"/>
          </ac:picMkLst>
        </pc:picChg>
        <pc:picChg chg="add del mod">
          <ac:chgData name="Thomas Stensitzki" userId="75cafe6b-2f2a-469b-85c4-eec3b9c972ba" providerId="ADAL" clId="{D91A4310-FFA3-49CF-81D4-6E62CE1ACB5C}" dt="2022-08-22T14:17:34.715" v="945"/>
          <ac:picMkLst>
            <pc:docMk/>
            <pc:sldMk cId="2590057525" sldId="2147470024"/>
            <ac:picMk id="43" creationId="{86CFA7B4-93AA-16B3-054A-FB15AA3045DF}"/>
          </ac:picMkLst>
        </pc:picChg>
        <pc:picChg chg="add del mod">
          <ac:chgData name="Thomas Stensitzki" userId="75cafe6b-2f2a-469b-85c4-eec3b9c972ba" providerId="ADAL" clId="{D91A4310-FFA3-49CF-81D4-6E62CE1ACB5C}" dt="2022-08-22T14:17:34.715" v="945"/>
          <ac:picMkLst>
            <pc:docMk/>
            <pc:sldMk cId="2590057525" sldId="2147470024"/>
            <ac:picMk id="44" creationId="{543ABD41-3204-3461-1212-D85DC9DC562A}"/>
          </ac:picMkLst>
        </pc:picChg>
        <pc:picChg chg="add del mod">
          <ac:chgData name="Thomas Stensitzki" userId="75cafe6b-2f2a-469b-85c4-eec3b9c972ba" providerId="ADAL" clId="{D91A4310-FFA3-49CF-81D4-6E62CE1ACB5C}" dt="2022-08-22T14:17:34.715" v="945"/>
          <ac:picMkLst>
            <pc:docMk/>
            <pc:sldMk cId="2590057525" sldId="2147470024"/>
            <ac:picMk id="45" creationId="{88921152-BF47-3DEF-B109-47199192E87D}"/>
          </ac:picMkLst>
        </pc:picChg>
        <pc:cxnChg chg="add mod">
          <ac:chgData name="Thomas Stensitzki" userId="75cafe6b-2f2a-469b-85c4-eec3b9c972ba" providerId="ADAL" clId="{D91A4310-FFA3-49CF-81D4-6E62CE1ACB5C}" dt="2022-08-22T14:16:36.854" v="919" actId="1076"/>
          <ac:cxnSpMkLst>
            <pc:docMk/>
            <pc:sldMk cId="2590057525" sldId="2147470024"/>
            <ac:cxnSpMk id="24" creationId="{97C1CB5A-91D5-6A80-5E05-59F4F0FBC4B5}"/>
          </ac:cxnSpMkLst>
        </pc:cxnChg>
        <pc:cxnChg chg="add mod">
          <ac:chgData name="Thomas Stensitzki" userId="75cafe6b-2f2a-469b-85c4-eec3b9c972ba" providerId="ADAL" clId="{D91A4310-FFA3-49CF-81D4-6E62CE1ACB5C}" dt="2022-08-22T14:16:36.854" v="919" actId="1076"/>
          <ac:cxnSpMkLst>
            <pc:docMk/>
            <pc:sldMk cId="2590057525" sldId="2147470024"/>
            <ac:cxnSpMk id="25" creationId="{31E93058-3135-0883-31A6-CBBB9DE0981B}"/>
          </ac:cxnSpMkLst>
        </pc:cxnChg>
        <pc:cxnChg chg="add mod">
          <ac:chgData name="Thomas Stensitzki" userId="75cafe6b-2f2a-469b-85c4-eec3b9c972ba" providerId="ADAL" clId="{D91A4310-FFA3-49CF-81D4-6E62CE1ACB5C}" dt="2022-08-22T14:16:36.854" v="919" actId="1076"/>
          <ac:cxnSpMkLst>
            <pc:docMk/>
            <pc:sldMk cId="2590057525" sldId="2147470024"/>
            <ac:cxnSpMk id="26" creationId="{A9C48F89-785C-BDCF-25C5-15D8C1E47BB2}"/>
          </ac:cxnSpMkLst>
        </pc:cxnChg>
        <pc:cxnChg chg="add del mod">
          <ac:chgData name="Thomas Stensitzki" userId="75cafe6b-2f2a-469b-85c4-eec3b9c972ba" providerId="ADAL" clId="{D91A4310-FFA3-49CF-81D4-6E62CE1ACB5C}" dt="2022-08-22T14:17:34.715" v="945"/>
          <ac:cxnSpMkLst>
            <pc:docMk/>
            <pc:sldMk cId="2590057525" sldId="2147470024"/>
            <ac:cxnSpMk id="46" creationId="{1732116A-772A-8AC2-32CB-09324D500E8D}"/>
          </ac:cxnSpMkLst>
        </pc:cxnChg>
        <pc:cxnChg chg="add del mod">
          <ac:chgData name="Thomas Stensitzki" userId="75cafe6b-2f2a-469b-85c4-eec3b9c972ba" providerId="ADAL" clId="{D91A4310-FFA3-49CF-81D4-6E62CE1ACB5C}" dt="2022-08-22T14:17:34.715" v="945"/>
          <ac:cxnSpMkLst>
            <pc:docMk/>
            <pc:sldMk cId="2590057525" sldId="2147470024"/>
            <ac:cxnSpMk id="47" creationId="{75BB6199-4AAC-AD3E-3DB3-1A5739DFDC35}"/>
          </ac:cxnSpMkLst>
        </pc:cxnChg>
        <pc:cxnChg chg="add del mod">
          <ac:chgData name="Thomas Stensitzki" userId="75cafe6b-2f2a-469b-85c4-eec3b9c972ba" providerId="ADAL" clId="{D91A4310-FFA3-49CF-81D4-6E62CE1ACB5C}" dt="2022-08-22T14:17:34.715" v="945"/>
          <ac:cxnSpMkLst>
            <pc:docMk/>
            <pc:sldMk cId="2590057525" sldId="2147470024"/>
            <ac:cxnSpMk id="48" creationId="{CD3627F7-040B-A20E-146B-CD5A3AFB23BB}"/>
          </ac:cxnSpMkLst>
        </pc:cxnChg>
      </pc:sldChg>
      <pc:sldChg chg="modSp add mod modAnim modNotes">
        <pc:chgData name="Thomas Stensitzki" userId="75cafe6b-2f2a-469b-85c4-eec3b9c972ba" providerId="ADAL" clId="{D91A4310-FFA3-49CF-81D4-6E62CE1ACB5C}" dt="2022-08-22T14:27:41.399" v="1476" actId="790"/>
        <pc:sldMkLst>
          <pc:docMk/>
          <pc:sldMk cId="3470787833" sldId="2147470025"/>
        </pc:sldMkLst>
        <pc:spChg chg="mod">
          <ac:chgData name="Thomas Stensitzki" userId="75cafe6b-2f2a-469b-85c4-eec3b9c972ba" providerId="ADAL" clId="{D91A4310-FFA3-49CF-81D4-6E62CE1ACB5C}" dt="2022-08-22T14:27:41.385" v="1461"/>
          <ac:spMkLst>
            <pc:docMk/>
            <pc:sldMk cId="3470787833" sldId="2147470025"/>
            <ac:spMk id="4" creationId="{6F8DFDE0-6F89-8C9E-7EC3-468429654B1C}"/>
          </ac:spMkLst>
        </pc:spChg>
        <pc:spChg chg="mod">
          <ac:chgData name="Thomas Stensitzki" userId="75cafe6b-2f2a-469b-85c4-eec3b9c972ba" providerId="ADAL" clId="{D91A4310-FFA3-49CF-81D4-6E62CE1ACB5C}" dt="2022-08-22T14:27:41.386" v="1462"/>
          <ac:spMkLst>
            <pc:docMk/>
            <pc:sldMk cId="3470787833" sldId="2147470025"/>
            <ac:spMk id="5" creationId="{76319416-B0FA-C7A4-7C67-C4AE391E4749}"/>
          </ac:spMkLst>
        </pc:spChg>
        <pc:spChg chg="mod">
          <ac:chgData name="Thomas Stensitzki" userId="75cafe6b-2f2a-469b-85c4-eec3b9c972ba" providerId="ADAL" clId="{D91A4310-FFA3-49CF-81D4-6E62CE1ACB5C}" dt="2022-08-22T14:27:41.387" v="1463"/>
          <ac:spMkLst>
            <pc:docMk/>
            <pc:sldMk cId="3470787833" sldId="2147470025"/>
            <ac:spMk id="6" creationId="{5E3EE67E-E6A5-367D-4EFE-E8CC39AE87E6}"/>
          </ac:spMkLst>
        </pc:spChg>
        <pc:spChg chg="mod">
          <ac:chgData name="Thomas Stensitzki" userId="75cafe6b-2f2a-469b-85c4-eec3b9c972ba" providerId="ADAL" clId="{D91A4310-FFA3-49CF-81D4-6E62CE1ACB5C}" dt="2022-08-22T14:27:41.387" v="1464"/>
          <ac:spMkLst>
            <pc:docMk/>
            <pc:sldMk cId="3470787833" sldId="2147470025"/>
            <ac:spMk id="7" creationId="{197EB2A9-7695-1746-2429-7FB16842EE1B}"/>
          </ac:spMkLst>
        </pc:spChg>
        <pc:spChg chg="mod">
          <ac:chgData name="Thomas Stensitzki" userId="75cafe6b-2f2a-469b-85c4-eec3b9c972ba" providerId="ADAL" clId="{D91A4310-FFA3-49CF-81D4-6E62CE1ACB5C}" dt="2022-08-22T14:27:41.388" v="1465"/>
          <ac:spMkLst>
            <pc:docMk/>
            <pc:sldMk cId="3470787833" sldId="2147470025"/>
            <ac:spMk id="8" creationId="{3DA49B73-7CBF-E0C1-023A-B883E96DB529}"/>
          </ac:spMkLst>
        </pc:spChg>
        <pc:spChg chg="mod">
          <ac:chgData name="Thomas Stensitzki" userId="75cafe6b-2f2a-469b-85c4-eec3b9c972ba" providerId="ADAL" clId="{D91A4310-FFA3-49CF-81D4-6E62CE1ACB5C}" dt="2022-08-22T14:27:41.389" v="1466"/>
          <ac:spMkLst>
            <pc:docMk/>
            <pc:sldMk cId="3470787833" sldId="2147470025"/>
            <ac:spMk id="9" creationId="{5DE1A266-02A4-43D5-C2B1-7B8C13C4751D}"/>
          </ac:spMkLst>
        </pc:spChg>
        <pc:spChg chg="mod">
          <ac:chgData name="Thomas Stensitzki" userId="75cafe6b-2f2a-469b-85c4-eec3b9c972ba" providerId="ADAL" clId="{D91A4310-FFA3-49CF-81D4-6E62CE1ACB5C}" dt="2022-08-22T14:27:41.389" v="1467"/>
          <ac:spMkLst>
            <pc:docMk/>
            <pc:sldMk cId="3470787833" sldId="2147470025"/>
            <ac:spMk id="10" creationId="{78380A5D-65B8-35DC-473E-7FB01CCC02C7}"/>
          </ac:spMkLst>
        </pc:spChg>
        <pc:spChg chg="mod">
          <ac:chgData name="Thomas Stensitzki" userId="75cafe6b-2f2a-469b-85c4-eec3b9c972ba" providerId="ADAL" clId="{D91A4310-FFA3-49CF-81D4-6E62CE1ACB5C}" dt="2022-08-22T14:27:41.390" v="1468"/>
          <ac:spMkLst>
            <pc:docMk/>
            <pc:sldMk cId="3470787833" sldId="2147470025"/>
            <ac:spMk id="11" creationId="{08107476-8B87-E74F-28BB-CD68030187F1}"/>
          </ac:spMkLst>
        </pc:spChg>
        <pc:spChg chg="mod">
          <ac:chgData name="Thomas Stensitzki" userId="75cafe6b-2f2a-469b-85c4-eec3b9c972ba" providerId="ADAL" clId="{D91A4310-FFA3-49CF-81D4-6E62CE1ACB5C}" dt="2022-08-22T14:27:41.391" v="1469"/>
          <ac:spMkLst>
            <pc:docMk/>
            <pc:sldMk cId="3470787833" sldId="2147470025"/>
            <ac:spMk id="12" creationId="{44F8026D-46D3-0546-C07C-BA4A346C4029}"/>
          </ac:spMkLst>
        </pc:spChg>
        <pc:spChg chg="mod">
          <ac:chgData name="Thomas Stensitzki" userId="75cafe6b-2f2a-469b-85c4-eec3b9c972ba" providerId="ADAL" clId="{D91A4310-FFA3-49CF-81D4-6E62CE1ACB5C}" dt="2022-08-22T14:27:41.391" v="1470"/>
          <ac:spMkLst>
            <pc:docMk/>
            <pc:sldMk cId="3470787833" sldId="2147470025"/>
            <ac:spMk id="13" creationId="{95C71AB2-38B8-AD9B-FBE4-912F74C6D23E}"/>
          </ac:spMkLst>
        </pc:spChg>
        <pc:spChg chg="mod">
          <ac:chgData name="Thomas Stensitzki" userId="75cafe6b-2f2a-469b-85c4-eec3b9c972ba" providerId="ADAL" clId="{D91A4310-FFA3-49CF-81D4-6E62CE1ACB5C}" dt="2022-08-22T14:27:41.392" v="1471"/>
          <ac:spMkLst>
            <pc:docMk/>
            <pc:sldMk cId="3470787833" sldId="2147470025"/>
            <ac:spMk id="14" creationId="{CA855354-5A9D-CA7A-DAE9-7B548084FE86}"/>
          </ac:spMkLst>
        </pc:spChg>
        <pc:spChg chg="mod">
          <ac:chgData name="Thomas Stensitzki" userId="75cafe6b-2f2a-469b-85c4-eec3b9c972ba" providerId="ADAL" clId="{D91A4310-FFA3-49CF-81D4-6E62CE1ACB5C}" dt="2022-08-22T14:27:41.392" v="1472"/>
          <ac:spMkLst>
            <pc:docMk/>
            <pc:sldMk cId="3470787833" sldId="2147470025"/>
            <ac:spMk id="15" creationId="{BDE8CC02-B009-E29D-74C2-9006830DDD78}"/>
          </ac:spMkLst>
        </pc:spChg>
        <pc:spChg chg="mod">
          <ac:chgData name="Thomas Stensitzki" userId="75cafe6b-2f2a-469b-85c4-eec3b9c972ba" providerId="ADAL" clId="{D91A4310-FFA3-49CF-81D4-6E62CE1ACB5C}" dt="2022-08-22T14:27:41.393" v="1473"/>
          <ac:spMkLst>
            <pc:docMk/>
            <pc:sldMk cId="3470787833" sldId="2147470025"/>
            <ac:spMk id="16" creationId="{B78D0CB6-8FDE-0DCB-8704-9C3C8AA5204C}"/>
          </ac:spMkLst>
        </pc:spChg>
        <pc:spChg chg="mod">
          <ac:chgData name="Thomas Stensitzki" userId="75cafe6b-2f2a-469b-85c4-eec3b9c972ba" providerId="ADAL" clId="{D91A4310-FFA3-49CF-81D4-6E62CE1ACB5C}" dt="2022-08-22T14:27:41.394" v="1474"/>
          <ac:spMkLst>
            <pc:docMk/>
            <pc:sldMk cId="3470787833" sldId="2147470025"/>
            <ac:spMk id="17" creationId="{A8A1E418-773C-F13E-F819-74091BF61917}"/>
          </ac:spMkLst>
        </pc:spChg>
        <pc:picChg chg="mod">
          <ac:chgData name="Thomas Stensitzki" userId="75cafe6b-2f2a-469b-85c4-eec3b9c972ba" providerId="ADAL" clId="{D91A4310-FFA3-49CF-81D4-6E62CE1ACB5C}" dt="2022-08-22T14:18:26.013" v="954" actId="1076"/>
          <ac:picMkLst>
            <pc:docMk/>
            <pc:sldMk cId="3470787833" sldId="2147470025"/>
            <ac:picMk id="23" creationId="{F65762D6-0419-2AA3-735C-7F51A5F2D117}"/>
          </ac:picMkLst>
        </pc:picChg>
        <pc:cxnChg chg="mod">
          <ac:chgData name="Thomas Stensitzki" userId="75cafe6b-2f2a-469b-85c4-eec3b9c972ba" providerId="ADAL" clId="{D91A4310-FFA3-49CF-81D4-6E62CE1ACB5C}" dt="2022-08-22T14:17:59.150" v="949" actId="14100"/>
          <ac:cxnSpMkLst>
            <pc:docMk/>
            <pc:sldMk cId="3470787833" sldId="2147470025"/>
            <ac:cxnSpMk id="25" creationId="{31E93058-3135-0883-31A6-CBBB9DE0981B}"/>
          </ac:cxnSpMkLst>
        </pc:cxnChg>
        <pc:cxnChg chg="mod">
          <ac:chgData name="Thomas Stensitzki" userId="75cafe6b-2f2a-469b-85c4-eec3b9c972ba" providerId="ADAL" clId="{D91A4310-FFA3-49CF-81D4-6E62CE1ACB5C}" dt="2022-08-22T14:18:17.585" v="953" actId="14100"/>
          <ac:cxnSpMkLst>
            <pc:docMk/>
            <pc:sldMk cId="3470787833" sldId="2147470025"/>
            <ac:cxnSpMk id="26" creationId="{A9C48F89-785C-BDCF-25C5-15D8C1E47BB2}"/>
          </ac:cxnSpMkLst>
        </pc:cxnChg>
      </pc:sldChg>
      <pc:sldChg chg="modSp add mod modNotes modNotesTx">
        <pc:chgData name="Thomas Stensitzki" userId="75cafe6b-2f2a-469b-85c4-eec3b9c972ba" providerId="ADAL" clId="{D91A4310-FFA3-49CF-81D4-6E62CE1ACB5C}" dt="2022-08-27T11:10:21.026" v="4187" actId="6549"/>
        <pc:sldMkLst>
          <pc:docMk/>
          <pc:sldMk cId="1500611781" sldId="2147470026"/>
        </pc:sldMkLst>
        <pc:spChg chg="mod">
          <ac:chgData name="Thomas Stensitzki" userId="75cafe6b-2f2a-469b-85c4-eec3b9c972ba" providerId="ADAL" clId="{D91A4310-FFA3-49CF-81D4-6E62CE1ACB5C}" dt="2022-08-22T14:27:41.354" v="1433" actId="790"/>
          <ac:spMkLst>
            <pc:docMk/>
            <pc:sldMk cId="1500611781" sldId="2147470026"/>
            <ac:spMk id="2" creationId="{4C6B0AC2-B025-A989-29BA-1470A02C5A41}"/>
          </ac:spMkLst>
        </pc:spChg>
        <pc:spChg chg="mod">
          <ac:chgData name="Thomas Stensitzki" userId="75cafe6b-2f2a-469b-85c4-eec3b9c972ba" providerId="ADAL" clId="{D91A4310-FFA3-49CF-81D4-6E62CE1ACB5C}" dt="2022-08-27T11:10:21.026" v="4187" actId="6549"/>
          <ac:spMkLst>
            <pc:docMk/>
            <pc:sldMk cId="1500611781" sldId="2147470026"/>
            <ac:spMk id="5" creationId="{8A260745-9B2D-414D-56A1-E59273CA8053}"/>
          </ac:spMkLst>
        </pc:spChg>
      </pc:sldChg>
      <pc:sldChg chg="modSp new mod">
        <pc:chgData name="Thomas Stensitzki" userId="75cafe6b-2f2a-469b-85c4-eec3b9c972ba" providerId="ADAL" clId="{D91A4310-FFA3-49CF-81D4-6E62CE1ACB5C}" dt="2022-08-27T11:53:39.046" v="5228" actId="20577"/>
        <pc:sldMkLst>
          <pc:docMk/>
          <pc:sldMk cId="2811743522" sldId="2147470027"/>
        </pc:sldMkLst>
        <pc:spChg chg="mod">
          <ac:chgData name="Thomas Stensitzki" userId="75cafe6b-2f2a-469b-85c4-eec3b9c972ba" providerId="ADAL" clId="{D91A4310-FFA3-49CF-81D4-6E62CE1ACB5C}" dt="2022-08-22T14:33:30.480" v="1646" actId="6549"/>
          <ac:spMkLst>
            <pc:docMk/>
            <pc:sldMk cId="2811743522" sldId="2147470027"/>
            <ac:spMk id="2" creationId="{D0DD0077-BD40-0596-2BA5-78EF3D6ED386}"/>
          </ac:spMkLst>
        </pc:spChg>
        <pc:spChg chg="mod">
          <ac:chgData name="Thomas Stensitzki" userId="75cafe6b-2f2a-469b-85c4-eec3b9c972ba" providerId="ADAL" clId="{D91A4310-FFA3-49CF-81D4-6E62CE1ACB5C}" dt="2022-08-27T11:53:39.046" v="5228" actId="20577"/>
          <ac:spMkLst>
            <pc:docMk/>
            <pc:sldMk cId="2811743522" sldId="2147470027"/>
            <ac:spMk id="3" creationId="{475515FD-4459-732F-1B3C-5EC718B80A43}"/>
          </ac:spMkLst>
        </pc:spChg>
      </pc:sldChg>
      <pc:sldChg chg="modSp add mod">
        <pc:chgData name="Thomas Stensitzki" userId="75cafe6b-2f2a-469b-85c4-eec3b9c972ba" providerId="ADAL" clId="{D91A4310-FFA3-49CF-81D4-6E62CE1ACB5C}" dt="2022-08-27T11:22:53.742" v="4758"/>
        <pc:sldMkLst>
          <pc:docMk/>
          <pc:sldMk cId="2756858606" sldId="2147470028"/>
        </pc:sldMkLst>
        <pc:spChg chg="mod">
          <ac:chgData name="Thomas Stensitzki" userId="75cafe6b-2f2a-469b-85c4-eec3b9c972ba" providerId="ADAL" clId="{D91A4310-FFA3-49CF-81D4-6E62CE1ACB5C}" dt="2022-08-27T11:22:53.742" v="4758"/>
          <ac:spMkLst>
            <pc:docMk/>
            <pc:sldMk cId="2756858606" sldId="2147470028"/>
            <ac:spMk id="5" creationId="{8A260745-9B2D-414D-56A1-E59273CA8053}"/>
          </ac:spMkLst>
        </pc:spChg>
      </pc:sldChg>
      <pc:sldChg chg="addSp delSp modSp new mod modClrScheme chgLayout modNotesTx">
        <pc:chgData name="Thomas Stensitzki" userId="75cafe6b-2f2a-469b-85c4-eec3b9c972ba" providerId="ADAL" clId="{D91A4310-FFA3-49CF-81D4-6E62CE1ACB5C}" dt="2022-08-22T15:13:17.303" v="3134" actId="20577"/>
        <pc:sldMkLst>
          <pc:docMk/>
          <pc:sldMk cId="1075582345" sldId="2147470029"/>
        </pc:sldMkLst>
        <pc:spChg chg="del mod ord">
          <ac:chgData name="Thomas Stensitzki" userId="75cafe6b-2f2a-469b-85c4-eec3b9c972ba" providerId="ADAL" clId="{D91A4310-FFA3-49CF-81D4-6E62CE1ACB5C}" dt="2022-08-22T15:07:56.450" v="2679" actId="700"/>
          <ac:spMkLst>
            <pc:docMk/>
            <pc:sldMk cId="1075582345" sldId="2147470029"/>
            <ac:spMk id="2" creationId="{2E85754D-33BB-1FB9-992E-41ACDC22FF2B}"/>
          </ac:spMkLst>
        </pc:spChg>
        <pc:spChg chg="add mod ord">
          <ac:chgData name="Thomas Stensitzki" userId="75cafe6b-2f2a-469b-85c4-eec3b9c972ba" providerId="ADAL" clId="{D91A4310-FFA3-49CF-81D4-6E62CE1ACB5C}" dt="2022-08-22T15:10:34.677" v="2827" actId="20577"/>
          <ac:spMkLst>
            <pc:docMk/>
            <pc:sldMk cId="1075582345" sldId="2147470029"/>
            <ac:spMk id="3" creationId="{82D97FAF-1C56-87A6-79CB-DF8207240DA9}"/>
          </ac:spMkLst>
        </pc:spChg>
        <pc:spChg chg="add mod ord">
          <ac:chgData name="Thomas Stensitzki" userId="75cafe6b-2f2a-469b-85c4-eec3b9c972ba" providerId="ADAL" clId="{D91A4310-FFA3-49CF-81D4-6E62CE1ACB5C}" dt="2022-08-22T15:13:17.303" v="3134" actId="20577"/>
          <ac:spMkLst>
            <pc:docMk/>
            <pc:sldMk cId="1075582345" sldId="2147470029"/>
            <ac:spMk id="4" creationId="{247941DD-9D61-45BD-8B29-9CEE1B5C2AD1}"/>
          </ac:spMkLst>
        </pc:spChg>
      </pc:sldChg>
      <pc:sldChg chg="addSp delSp modSp new mod modClrScheme chgLayout">
        <pc:chgData name="Thomas Stensitzki" userId="75cafe6b-2f2a-469b-85c4-eec3b9c972ba" providerId="ADAL" clId="{D91A4310-FFA3-49CF-81D4-6E62CE1ACB5C}" dt="2022-08-27T11:13:34.065" v="4262" actId="20577"/>
        <pc:sldMkLst>
          <pc:docMk/>
          <pc:sldMk cId="2305120761" sldId="2147470030"/>
        </pc:sldMkLst>
        <pc:spChg chg="del mod ord">
          <ac:chgData name="Thomas Stensitzki" userId="75cafe6b-2f2a-469b-85c4-eec3b9c972ba" providerId="ADAL" clId="{D91A4310-FFA3-49CF-81D4-6E62CE1ACB5C}" dt="2022-08-22T15:14:02.775" v="3136" actId="700"/>
          <ac:spMkLst>
            <pc:docMk/>
            <pc:sldMk cId="2305120761" sldId="2147470030"/>
            <ac:spMk id="2" creationId="{3349B9DE-C07D-D6C0-1E32-42B1F306B090}"/>
          </ac:spMkLst>
        </pc:spChg>
        <pc:spChg chg="del mod ord">
          <ac:chgData name="Thomas Stensitzki" userId="75cafe6b-2f2a-469b-85c4-eec3b9c972ba" providerId="ADAL" clId="{D91A4310-FFA3-49CF-81D4-6E62CE1ACB5C}" dt="2022-08-22T15:14:02.775" v="3136" actId="700"/>
          <ac:spMkLst>
            <pc:docMk/>
            <pc:sldMk cId="2305120761" sldId="2147470030"/>
            <ac:spMk id="3" creationId="{D8DA9BDB-C4C9-4AF8-6881-A4BE164E7FA8}"/>
          </ac:spMkLst>
        </pc:spChg>
        <pc:spChg chg="del">
          <ac:chgData name="Thomas Stensitzki" userId="75cafe6b-2f2a-469b-85c4-eec3b9c972ba" providerId="ADAL" clId="{D91A4310-FFA3-49CF-81D4-6E62CE1ACB5C}" dt="2022-08-22T15:14:02.775" v="3136" actId="700"/>
          <ac:spMkLst>
            <pc:docMk/>
            <pc:sldMk cId="2305120761" sldId="2147470030"/>
            <ac:spMk id="4" creationId="{D95BC75B-2E5B-8845-4DA4-2651ABBC2969}"/>
          </ac:spMkLst>
        </pc:spChg>
        <pc:spChg chg="add mod ord">
          <ac:chgData name="Thomas Stensitzki" userId="75cafe6b-2f2a-469b-85c4-eec3b9c972ba" providerId="ADAL" clId="{D91A4310-FFA3-49CF-81D4-6E62CE1ACB5C}" dt="2022-08-22T15:17:52.634" v="3197" actId="6549"/>
          <ac:spMkLst>
            <pc:docMk/>
            <pc:sldMk cId="2305120761" sldId="2147470030"/>
            <ac:spMk id="5" creationId="{7F053C32-59AF-1B55-8AE7-39EDF8AC84A1}"/>
          </ac:spMkLst>
        </pc:spChg>
        <pc:spChg chg="add mod ord">
          <ac:chgData name="Thomas Stensitzki" userId="75cafe6b-2f2a-469b-85c4-eec3b9c972ba" providerId="ADAL" clId="{D91A4310-FFA3-49CF-81D4-6E62CE1ACB5C}" dt="2022-08-27T11:13:34.065" v="4262" actId="20577"/>
          <ac:spMkLst>
            <pc:docMk/>
            <pc:sldMk cId="2305120761" sldId="2147470030"/>
            <ac:spMk id="6" creationId="{827917BD-78AF-FADD-8990-796E417A000E}"/>
          </ac:spMkLst>
        </pc:spChg>
        <pc:picChg chg="add mod">
          <ac:chgData name="Thomas Stensitzki" userId="75cafe6b-2f2a-469b-85c4-eec3b9c972ba" providerId="ADAL" clId="{D91A4310-FFA3-49CF-81D4-6E62CE1ACB5C}" dt="2022-08-22T15:23:19.248" v="3738" actId="1076"/>
          <ac:picMkLst>
            <pc:docMk/>
            <pc:sldMk cId="2305120761" sldId="2147470030"/>
            <ac:picMk id="7" creationId="{21C73DB2-8C79-7DD3-F66C-4D59697EB2B8}"/>
          </ac:picMkLst>
        </pc:picChg>
      </pc:sldChg>
    </pc:docChg>
  </pc:docChgLst>
  <pc:docChgLst>
    <pc:chgData name="sigi@jagott-it.de" userId="S::urn:spo:guest#sigi@jagott-it.de::" providerId="AD" clId="Web-{06E44635-03F9-E904-5601-5FD9DCD71A9C}"/>
    <pc:docChg chg="modSld">
      <pc:chgData name="sigi@jagott-it.de" userId="S::urn:spo:guest#sigi@jagott-it.de::" providerId="AD" clId="Web-{06E44635-03F9-E904-5601-5FD9DCD71A9C}" dt="2022-08-20T12:32:25.519" v="35" actId="20577"/>
      <pc:docMkLst>
        <pc:docMk/>
      </pc:docMkLst>
      <pc:sldChg chg="modSp">
        <pc:chgData name="sigi@jagott-it.de" userId="S::urn:spo:guest#sigi@jagott-it.de::" providerId="AD" clId="Web-{06E44635-03F9-E904-5601-5FD9DCD71A9C}" dt="2022-08-20T12:32:25.519" v="35" actId="20577"/>
        <pc:sldMkLst>
          <pc:docMk/>
          <pc:sldMk cId="3058860187" sldId="2147470017"/>
        </pc:sldMkLst>
        <pc:spChg chg="mod">
          <ac:chgData name="sigi@jagott-it.de" userId="S::urn:spo:guest#sigi@jagott-it.de::" providerId="AD" clId="Web-{06E44635-03F9-E904-5601-5FD9DCD71A9C}" dt="2022-08-20T12:32:25.519" v="35" actId="20577"/>
          <ac:spMkLst>
            <pc:docMk/>
            <pc:sldMk cId="3058860187" sldId="2147470017"/>
            <ac:spMk id="3" creationId="{A5FB7E5F-62A2-9709-44E6-8ED9C2283543}"/>
          </ac:spMkLst>
        </pc:spChg>
      </pc:sldChg>
      <pc:sldChg chg="addSp delSp modSp">
        <pc:chgData name="sigi@jagott-it.de" userId="S::urn:spo:guest#sigi@jagott-it.de::" providerId="AD" clId="Web-{06E44635-03F9-E904-5601-5FD9DCD71A9C}" dt="2022-08-20T12:30:33.937" v="12"/>
        <pc:sldMkLst>
          <pc:docMk/>
          <pc:sldMk cId="2143166921" sldId="2147470019"/>
        </pc:sldMkLst>
        <pc:spChg chg="add del mod">
          <ac:chgData name="sigi@jagott-it.de" userId="S::urn:spo:guest#sigi@jagott-it.de::" providerId="AD" clId="Web-{06E44635-03F9-E904-5601-5FD9DCD71A9C}" dt="2022-08-20T12:30:33.937" v="11"/>
          <ac:spMkLst>
            <pc:docMk/>
            <pc:sldMk cId="2143166921" sldId="2147470019"/>
            <ac:spMk id="10" creationId="{2EBD8586-2234-04B0-298C-FC756B72B76C}"/>
          </ac:spMkLst>
        </pc:spChg>
        <pc:spChg chg="add del mod">
          <ac:chgData name="sigi@jagott-it.de" userId="S::urn:spo:guest#sigi@jagott-it.de::" providerId="AD" clId="Web-{06E44635-03F9-E904-5601-5FD9DCD71A9C}" dt="2022-08-20T12:30:33.937" v="10"/>
          <ac:spMkLst>
            <pc:docMk/>
            <pc:sldMk cId="2143166921" sldId="2147470019"/>
            <ac:spMk id="11" creationId="{D4E09D21-F3AD-E0D4-829D-0211EA2155EF}"/>
          </ac:spMkLst>
        </pc:spChg>
        <pc:spChg chg="add del mod">
          <ac:chgData name="sigi@jagott-it.de" userId="S::urn:spo:guest#sigi@jagott-it.de::" providerId="AD" clId="Web-{06E44635-03F9-E904-5601-5FD9DCD71A9C}" dt="2022-08-20T12:30:33.937" v="7"/>
          <ac:spMkLst>
            <pc:docMk/>
            <pc:sldMk cId="2143166921" sldId="2147470019"/>
            <ac:spMk id="14" creationId="{D8275211-9B44-9680-EC2F-592C5C032F67}"/>
          </ac:spMkLst>
        </pc:spChg>
        <pc:picChg chg="add del mod">
          <ac:chgData name="sigi@jagott-it.de" userId="S::urn:spo:guest#sigi@jagott-it.de::" providerId="AD" clId="Web-{06E44635-03F9-E904-5601-5FD9DCD71A9C}" dt="2022-08-20T12:30:33.937" v="12"/>
          <ac:picMkLst>
            <pc:docMk/>
            <pc:sldMk cId="2143166921" sldId="2147470019"/>
            <ac:picMk id="9" creationId="{F3F1CA11-C501-B215-1536-2897F2EBD3FA}"/>
          </ac:picMkLst>
        </pc:picChg>
        <pc:picChg chg="add del mod">
          <ac:chgData name="sigi@jagott-it.de" userId="S::urn:spo:guest#sigi@jagott-it.de::" providerId="AD" clId="Web-{06E44635-03F9-E904-5601-5FD9DCD71A9C}" dt="2022-08-20T12:30:33.937" v="9"/>
          <ac:picMkLst>
            <pc:docMk/>
            <pc:sldMk cId="2143166921" sldId="2147470019"/>
            <ac:picMk id="12" creationId="{26363A70-C6F9-F1F8-E3D7-A0B17B86899E}"/>
          </ac:picMkLst>
        </pc:picChg>
        <pc:picChg chg="add del mod">
          <ac:chgData name="sigi@jagott-it.de" userId="S::urn:spo:guest#sigi@jagott-it.de::" providerId="AD" clId="Web-{06E44635-03F9-E904-5601-5FD9DCD71A9C}" dt="2022-08-20T12:30:33.937" v="8"/>
          <ac:picMkLst>
            <pc:docMk/>
            <pc:sldMk cId="2143166921" sldId="2147470019"/>
            <ac:picMk id="13" creationId="{91771194-D040-1C9C-C46B-C0CE90F7AB9C}"/>
          </ac:picMkLst>
        </pc:picChg>
      </pc:sldChg>
    </pc:docChg>
  </pc:docChgLst>
  <pc:docChgLst>
    <pc:chgData name="Sigi Jagott" userId="ac4134a1-c8d0-437d-8e32-a4935480bd15" providerId="ADAL" clId="{CF2F8C21-3F81-42FB-B0AE-66B5D2E38A04}"/>
    <pc:docChg chg="undo custSel delSld modSld delSection modSection">
      <pc:chgData name="Sigi Jagott" userId="ac4134a1-c8d0-437d-8e32-a4935480bd15" providerId="ADAL" clId="{CF2F8C21-3F81-42FB-B0AE-66B5D2E38A04}" dt="2022-09-14T08:33:51.798" v="193" actId="17851"/>
      <pc:docMkLst>
        <pc:docMk/>
      </pc:docMkLst>
      <pc:sldChg chg="addSp delSp modSp mod">
        <pc:chgData name="Sigi Jagott" userId="ac4134a1-c8d0-437d-8e32-a4935480bd15" providerId="ADAL" clId="{CF2F8C21-3F81-42FB-B0AE-66B5D2E38A04}" dt="2022-09-13T11:57:11.836" v="126" actId="1038"/>
        <pc:sldMkLst>
          <pc:docMk/>
          <pc:sldMk cId="2924642773" sldId="2147469994"/>
        </pc:sldMkLst>
        <pc:spChg chg="mod">
          <ac:chgData name="Sigi Jagott" userId="ac4134a1-c8d0-437d-8e32-a4935480bd15" providerId="ADAL" clId="{CF2F8C21-3F81-42FB-B0AE-66B5D2E38A04}" dt="2022-09-13T11:57:00.654" v="99" actId="1076"/>
          <ac:spMkLst>
            <pc:docMk/>
            <pc:sldMk cId="2924642773" sldId="2147469994"/>
            <ac:spMk id="4" creationId="{7CE0874D-42AF-BACB-2D10-30B9018DEB94}"/>
          </ac:spMkLst>
        </pc:spChg>
        <pc:spChg chg="mod">
          <ac:chgData name="Sigi Jagott" userId="ac4134a1-c8d0-437d-8e32-a4935480bd15" providerId="ADAL" clId="{CF2F8C21-3F81-42FB-B0AE-66B5D2E38A04}" dt="2022-09-13T11:56:38.439" v="91"/>
          <ac:spMkLst>
            <pc:docMk/>
            <pc:sldMk cId="2924642773" sldId="2147469994"/>
            <ac:spMk id="6" creationId="{A946038A-7C42-FEAA-9AB9-AA83CB43A391}"/>
          </ac:spMkLst>
        </pc:spChg>
        <pc:spChg chg="del mod">
          <ac:chgData name="Sigi Jagott" userId="ac4134a1-c8d0-437d-8e32-a4935480bd15" providerId="ADAL" clId="{CF2F8C21-3F81-42FB-B0AE-66B5D2E38A04}" dt="2022-09-13T11:57:04.028" v="101"/>
          <ac:spMkLst>
            <pc:docMk/>
            <pc:sldMk cId="2924642773" sldId="2147469994"/>
            <ac:spMk id="7" creationId="{844C2406-BDEB-79E2-1E9F-2EF156F3EEE9}"/>
          </ac:spMkLst>
        </pc:spChg>
        <pc:grpChg chg="add mod">
          <ac:chgData name="Sigi Jagott" userId="ac4134a1-c8d0-437d-8e32-a4935480bd15" providerId="ADAL" clId="{CF2F8C21-3F81-42FB-B0AE-66B5D2E38A04}" dt="2022-09-13T11:57:11.836" v="126" actId="1038"/>
          <ac:grpSpMkLst>
            <pc:docMk/>
            <pc:sldMk cId="2924642773" sldId="2147469994"/>
            <ac:grpSpMk id="5" creationId="{A5ECA792-CCE5-47DC-B5B2-8641D33CC02A}"/>
          </ac:grpSpMkLst>
        </pc:grpChg>
        <pc:picChg chg="mod">
          <ac:chgData name="Sigi Jagott" userId="ac4134a1-c8d0-437d-8e32-a4935480bd15" providerId="ADAL" clId="{CF2F8C21-3F81-42FB-B0AE-66B5D2E38A04}" dt="2022-09-13T11:56:38.439" v="91"/>
          <ac:picMkLst>
            <pc:docMk/>
            <pc:sldMk cId="2924642773" sldId="2147469994"/>
            <ac:picMk id="8" creationId="{2F195D47-2EFA-7A40-98F2-CC75042AE7A2}"/>
          </ac:picMkLst>
        </pc:picChg>
        <pc:picChg chg="mod">
          <ac:chgData name="Sigi Jagott" userId="ac4134a1-c8d0-437d-8e32-a4935480bd15" providerId="ADAL" clId="{CF2F8C21-3F81-42FB-B0AE-66B5D2E38A04}" dt="2022-09-13T11:56:38.439" v="91"/>
          <ac:picMkLst>
            <pc:docMk/>
            <pc:sldMk cId="2924642773" sldId="2147469994"/>
            <ac:picMk id="9" creationId="{C7DF8C6E-443B-C398-BC45-2313EE7E6F54}"/>
          </ac:picMkLst>
        </pc:picChg>
      </pc:sldChg>
      <pc:sldChg chg="del">
        <pc:chgData name="Sigi Jagott" userId="ac4134a1-c8d0-437d-8e32-a4935480bd15" providerId="ADAL" clId="{CF2F8C21-3F81-42FB-B0AE-66B5D2E38A04}" dt="2022-09-14T08:33:43.758" v="190" actId="47"/>
        <pc:sldMkLst>
          <pc:docMk/>
          <pc:sldMk cId="4152082236" sldId="2147469998"/>
        </pc:sldMkLst>
      </pc:sldChg>
      <pc:sldChg chg="addSp delSp modSp mod">
        <pc:chgData name="Sigi Jagott" userId="ac4134a1-c8d0-437d-8e32-a4935480bd15" providerId="ADAL" clId="{CF2F8C21-3F81-42FB-B0AE-66B5D2E38A04}" dt="2022-09-14T08:31:49.727" v="189" actId="1038"/>
        <pc:sldMkLst>
          <pc:docMk/>
          <pc:sldMk cId="1002109060" sldId="2147469999"/>
        </pc:sldMkLst>
        <pc:spChg chg="del">
          <ac:chgData name="Sigi Jagott" userId="ac4134a1-c8d0-437d-8e32-a4935480bd15" providerId="ADAL" clId="{CF2F8C21-3F81-42FB-B0AE-66B5D2E38A04}" dt="2022-09-14T08:31:29.525" v="137" actId="478"/>
          <ac:spMkLst>
            <pc:docMk/>
            <pc:sldMk cId="1002109060" sldId="2147469999"/>
            <ac:spMk id="2" creationId="{D031B228-45E7-E9AE-3584-1EF02C0BF237}"/>
          </ac:spMkLst>
        </pc:spChg>
        <pc:spChg chg="add mod">
          <ac:chgData name="Sigi Jagott" userId="ac4134a1-c8d0-437d-8e32-a4935480bd15" providerId="ADAL" clId="{CF2F8C21-3F81-42FB-B0AE-66B5D2E38A04}" dt="2022-09-14T08:31:26.878" v="136"/>
          <ac:spMkLst>
            <pc:docMk/>
            <pc:sldMk cId="1002109060" sldId="2147469999"/>
            <ac:spMk id="3" creationId="{2084178E-6BB0-7924-5418-D883A5E92777}"/>
          </ac:spMkLst>
        </pc:spChg>
        <pc:spChg chg="del mod">
          <ac:chgData name="Sigi Jagott" userId="ac4134a1-c8d0-437d-8e32-a4935480bd15" providerId="ADAL" clId="{CF2F8C21-3F81-42FB-B0AE-66B5D2E38A04}" dt="2022-09-13T11:57:24.325" v="127" actId="478"/>
          <ac:spMkLst>
            <pc:docMk/>
            <pc:sldMk cId="1002109060" sldId="2147469999"/>
            <ac:spMk id="3" creationId="{78D36476-FA2C-C7BA-856B-46D1A376B099}"/>
          </ac:spMkLst>
        </pc:spChg>
        <pc:spChg chg="mod">
          <ac:chgData name="Sigi Jagott" userId="ac4134a1-c8d0-437d-8e32-a4935480bd15" providerId="ADAL" clId="{CF2F8C21-3F81-42FB-B0AE-66B5D2E38A04}" dt="2022-09-13T11:57:45.624" v="135" actId="1076"/>
          <ac:spMkLst>
            <pc:docMk/>
            <pc:sldMk cId="1002109060" sldId="2147469999"/>
            <ac:spMk id="8" creationId="{E55E240A-7B75-C099-ADFF-0D7C7FBC9B5C}"/>
          </ac:spMkLst>
        </pc:spChg>
        <pc:spChg chg="mod">
          <ac:chgData name="Sigi Jagott" userId="ac4134a1-c8d0-437d-8e32-a4935480bd15" providerId="ADAL" clId="{CF2F8C21-3F81-42FB-B0AE-66B5D2E38A04}" dt="2022-09-13T11:57:24.768" v="128"/>
          <ac:spMkLst>
            <pc:docMk/>
            <pc:sldMk cId="1002109060" sldId="2147469999"/>
            <ac:spMk id="9" creationId="{32E8B65F-4940-BBD3-B04E-13B816B6FD04}"/>
          </ac:spMkLst>
        </pc:spChg>
        <pc:spChg chg="add del mod">
          <ac:chgData name="Sigi Jagott" userId="ac4134a1-c8d0-437d-8e32-a4935480bd15" providerId="ADAL" clId="{CF2F8C21-3F81-42FB-B0AE-66B5D2E38A04}" dt="2022-09-14T08:31:32.309" v="138" actId="478"/>
          <ac:spMkLst>
            <pc:docMk/>
            <pc:sldMk cId="1002109060" sldId="2147469999"/>
            <ac:spMk id="15" creationId="{A477F9A7-5A42-9303-E653-B50CBC86DE98}"/>
          </ac:spMkLst>
        </pc:spChg>
        <pc:grpChg chg="add mod">
          <ac:chgData name="Sigi Jagott" userId="ac4134a1-c8d0-437d-8e32-a4935480bd15" providerId="ADAL" clId="{CF2F8C21-3F81-42FB-B0AE-66B5D2E38A04}" dt="2022-09-13T11:57:24.768" v="128"/>
          <ac:grpSpMkLst>
            <pc:docMk/>
            <pc:sldMk cId="1002109060" sldId="2147469999"/>
            <ac:grpSpMk id="5" creationId="{9B798789-4461-C89A-DF9A-908A12CC435A}"/>
          </ac:grpSpMkLst>
        </pc:grpChg>
        <pc:grpChg chg="mod">
          <ac:chgData name="Sigi Jagott" userId="ac4134a1-c8d0-437d-8e32-a4935480bd15" providerId="ADAL" clId="{CF2F8C21-3F81-42FB-B0AE-66B5D2E38A04}" dt="2022-09-14T08:31:49.727" v="189" actId="1038"/>
          <ac:grpSpMkLst>
            <pc:docMk/>
            <pc:sldMk cId="1002109060" sldId="2147469999"/>
            <ac:grpSpMk id="12" creationId="{B1651A80-F1ED-F880-15D3-BCDB80E019E4}"/>
          </ac:grpSpMkLst>
        </pc:grpChg>
        <pc:picChg chg="mod">
          <ac:chgData name="Sigi Jagott" userId="ac4134a1-c8d0-437d-8e32-a4935480bd15" providerId="ADAL" clId="{CF2F8C21-3F81-42FB-B0AE-66B5D2E38A04}" dt="2022-09-13T11:57:35.906" v="134" actId="1076"/>
          <ac:picMkLst>
            <pc:docMk/>
            <pc:sldMk cId="1002109060" sldId="2147469999"/>
            <ac:picMk id="4" creationId="{1A1316D9-C30C-6C52-4CD8-960C06F98FB9}"/>
          </ac:picMkLst>
        </pc:picChg>
        <pc:picChg chg="mod">
          <ac:chgData name="Sigi Jagott" userId="ac4134a1-c8d0-437d-8e32-a4935480bd15" providerId="ADAL" clId="{CF2F8C21-3F81-42FB-B0AE-66B5D2E38A04}" dt="2022-09-13T11:57:24.768" v="128"/>
          <ac:picMkLst>
            <pc:docMk/>
            <pc:sldMk cId="1002109060" sldId="2147469999"/>
            <ac:picMk id="10" creationId="{8B7D1EBD-7DF4-21A8-FE5D-A960A3256DED}"/>
          </ac:picMkLst>
        </pc:picChg>
        <pc:picChg chg="mod">
          <ac:chgData name="Sigi Jagott" userId="ac4134a1-c8d0-437d-8e32-a4935480bd15" providerId="ADAL" clId="{CF2F8C21-3F81-42FB-B0AE-66B5D2E38A04}" dt="2022-09-13T11:57:24.768" v="128"/>
          <ac:picMkLst>
            <pc:docMk/>
            <pc:sldMk cId="1002109060" sldId="2147469999"/>
            <ac:picMk id="11" creationId="{34AAF96C-BAD8-BBC1-EC54-6BB04A1D6187}"/>
          </ac:picMkLst>
        </pc:picChg>
      </pc:sldChg>
      <pc:sldChg chg="modSp mod addCm modNotesTx">
        <pc:chgData name="Sigi Jagott" userId="ac4134a1-c8d0-437d-8e32-a4935480bd15" providerId="ADAL" clId="{CF2F8C21-3F81-42FB-B0AE-66B5D2E38A04}" dt="2022-09-13T11:56:38.524" v="92" actId="27636"/>
        <pc:sldMkLst>
          <pc:docMk/>
          <pc:sldMk cId="850533415" sldId="2147470001"/>
        </pc:sldMkLst>
        <pc:spChg chg="mod">
          <ac:chgData name="Sigi Jagott" userId="ac4134a1-c8d0-437d-8e32-a4935480bd15" providerId="ADAL" clId="{CF2F8C21-3F81-42FB-B0AE-66B5D2E38A04}" dt="2022-09-13T11:56:38.524" v="92" actId="27636"/>
          <ac:spMkLst>
            <pc:docMk/>
            <pc:sldMk cId="850533415" sldId="2147470001"/>
            <ac:spMk id="5" creationId="{8A260745-9B2D-414D-56A1-E59273CA8053}"/>
          </ac:spMkLst>
        </pc:spChg>
      </pc:sldChg>
      <pc:sldChg chg="del">
        <pc:chgData name="Sigi Jagott" userId="ac4134a1-c8d0-437d-8e32-a4935480bd15" providerId="ADAL" clId="{CF2F8C21-3F81-42FB-B0AE-66B5D2E38A04}" dt="2022-09-14T08:33:44.658" v="191" actId="47"/>
        <pc:sldMkLst>
          <pc:docMk/>
          <pc:sldMk cId="4159166838" sldId="2147470005"/>
        </pc:sldMkLst>
      </pc:sldChg>
      <pc:sldChg chg="modSp mod modNotesTx">
        <pc:chgData name="Sigi Jagott" userId="ac4134a1-c8d0-437d-8e32-a4935480bd15" providerId="ADAL" clId="{CF2F8C21-3F81-42FB-B0AE-66B5D2E38A04}" dt="2022-09-13T11:56:38.549" v="94" actId="27636"/>
        <pc:sldMkLst>
          <pc:docMk/>
          <pc:sldMk cId="3058860187" sldId="2147470017"/>
        </pc:sldMkLst>
        <pc:spChg chg="mod">
          <ac:chgData name="Sigi Jagott" userId="ac4134a1-c8d0-437d-8e32-a4935480bd15" providerId="ADAL" clId="{CF2F8C21-3F81-42FB-B0AE-66B5D2E38A04}" dt="2022-09-13T11:56:38.549" v="94" actId="27636"/>
          <ac:spMkLst>
            <pc:docMk/>
            <pc:sldMk cId="3058860187" sldId="2147470017"/>
            <ac:spMk id="3" creationId="{A5FB7E5F-62A2-9709-44E6-8ED9C2283543}"/>
          </ac:spMkLst>
        </pc:spChg>
      </pc:sldChg>
      <pc:sldChg chg="modSp mod">
        <pc:chgData name="Sigi Jagott" userId="ac4134a1-c8d0-437d-8e32-a4935480bd15" providerId="ADAL" clId="{CF2F8C21-3F81-42FB-B0AE-66B5D2E38A04}" dt="2022-09-03T18:41:07.098" v="90" actId="20577"/>
        <pc:sldMkLst>
          <pc:docMk/>
          <pc:sldMk cId="189657053" sldId="2147470022"/>
        </pc:sldMkLst>
        <pc:spChg chg="mod">
          <ac:chgData name="Sigi Jagott" userId="ac4134a1-c8d0-437d-8e32-a4935480bd15" providerId="ADAL" clId="{CF2F8C21-3F81-42FB-B0AE-66B5D2E38A04}" dt="2022-09-03T18:41:07.098" v="90" actId="20577"/>
          <ac:spMkLst>
            <pc:docMk/>
            <pc:sldMk cId="189657053" sldId="2147470022"/>
            <ac:spMk id="5" creationId="{8A260745-9B2D-414D-56A1-E59273CA8053}"/>
          </ac:spMkLst>
        </pc:spChg>
      </pc:sldChg>
      <pc:sldChg chg="modSp mod">
        <pc:chgData name="Sigi Jagott" userId="ac4134a1-c8d0-437d-8e32-a4935480bd15" providerId="ADAL" clId="{CF2F8C21-3F81-42FB-B0AE-66B5D2E38A04}" dt="2022-09-13T11:56:38.583" v="95" actId="27636"/>
        <pc:sldMkLst>
          <pc:docMk/>
          <pc:sldMk cId="119372799" sldId="2147470023"/>
        </pc:sldMkLst>
        <pc:spChg chg="mod">
          <ac:chgData name="Sigi Jagott" userId="ac4134a1-c8d0-437d-8e32-a4935480bd15" providerId="ADAL" clId="{CF2F8C21-3F81-42FB-B0AE-66B5D2E38A04}" dt="2022-09-13T11:56:38.583" v="95" actId="27636"/>
          <ac:spMkLst>
            <pc:docMk/>
            <pc:sldMk cId="119372799" sldId="2147470023"/>
            <ac:spMk id="3" creationId="{51E8338C-B20B-9634-8F4B-289E726FC8EF}"/>
          </ac:spMkLst>
        </pc:spChg>
      </pc:sldChg>
      <pc:sldChg chg="addCm modCm">
        <pc:chgData name="Sigi Jagott" userId="ac4134a1-c8d0-437d-8e32-a4935480bd15" providerId="ADAL" clId="{CF2F8C21-3F81-42FB-B0AE-66B5D2E38A04}" dt="2022-09-03T18:38:49.174" v="6" actId="2056"/>
        <pc:sldMkLst>
          <pc:docMk/>
          <pc:sldMk cId="3470787833" sldId="2147470025"/>
        </pc:sldMkLst>
      </pc:sldChg>
      <pc:sldChg chg="modSp mod">
        <pc:chgData name="Sigi Jagott" userId="ac4134a1-c8d0-437d-8e32-a4935480bd15" providerId="ADAL" clId="{CF2F8C21-3F81-42FB-B0AE-66B5D2E38A04}" dt="2022-09-13T11:56:38.533" v="93" actId="27636"/>
        <pc:sldMkLst>
          <pc:docMk/>
          <pc:sldMk cId="1500611781" sldId="2147470026"/>
        </pc:sldMkLst>
        <pc:spChg chg="mod">
          <ac:chgData name="Sigi Jagott" userId="ac4134a1-c8d0-437d-8e32-a4935480bd15" providerId="ADAL" clId="{CF2F8C21-3F81-42FB-B0AE-66B5D2E38A04}" dt="2022-09-13T11:56:38.533" v="93" actId="27636"/>
          <ac:spMkLst>
            <pc:docMk/>
            <pc:sldMk cId="1500611781" sldId="2147470026"/>
            <ac:spMk id="5" creationId="{8A260745-9B2D-414D-56A1-E59273CA8053}"/>
          </ac:spMkLst>
        </pc:spChg>
      </pc:sldChg>
    </pc:docChg>
  </pc:docChgLst>
  <pc:docChgLst>
    <pc:chgData name="Thomas Stensitzki" userId="75cafe6b-2f2a-469b-85c4-eec3b9c972ba" providerId="ADAL" clId="{00E18257-6071-41E0-9F0A-95642F0E9805}"/>
    <pc:docChg chg="undo custSel modSld">
      <pc:chgData name="Thomas Stensitzki" userId="75cafe6b-2f2a-469b-85c4-eec3b9c972ba" providerId="ADAL" clId="{00E18257-6071-41E0-9F0A-95642F0E9805}" dt="2022-09-14T13:36:48.090" v="3" actId="20577"/>
      <pc:docMkLst>
        <pc:docMk/>
      </pc:docMkLst>
      <pc:sldChg chg="modSp mod">
        <pc:chgData name="Thomas Stensitzki" userId="75cafe6b-2f2a-469b-85c4-eec3b9c972ba" providerId="ADAL" clId="{00E18257-6071-41E0-9F0A-95642F0E9805}" dt="2022-09-14T13:36:48.090" v="3" actId="20577"/>
        <pc:sldMkLst>
          <pc:docMk/>
          <pc:sldMk cId="1002109060" sldId="2147469999"/>
        </pc:sldMkLst>
        <pc:spChg chg="mod">
          <ac:chgData name="Thomas Stensitzki" userId="75cafe6b-2f2a-469b-85c4-eec3b9c972ba" providerId="ADAL" clId="{00E18257-6071-41E0-9F0A-95642F0E9805}" dt="2022-09-14T13:36:48.090" v="3" actId="20577"/>
          <ac:spMkLst>
            <pc:docMk/>
            <pc:sldMk cId="1002109060" sldId="2147469999"/>
            <ac:spMk id="3" creationId="{2084178E-6BB0-7924-5418-D883A5E92777}"/>
          </ac:spMkLst>
        </pc:spChg>
      </pc:sldChg>
    </pc:docChg>
  </pc:docChgLst>
  <pc:docChgLst>
    <pc:chgData name="Sigi Jagott" userId="ac4134a1-c8d0-437d-8e32-a4935480bd15" providerId="ADAL" clId="{3AADC9EF-CF3D-479A-89E2-A59F4A55DF72}"/>
    <pc:docChg chg="undo redo custSel addSld delSld modSld sldOrd modSection">
      <pc:chgData name="Sigi Jagott" userId="ac4134a1-c8d0-437d-8e32-a4935480bd15" providerId="ADAL" clId="{3AADC9EF-CF3D-479A-89E2-A59F4A55DF72}" dt="2022-08-20T12:22:55.724" v="1073" actId="20577"/>
      <pc:docMkLst>
        <pc:docMk/>
      </pc:docMkLst>
      <pc:sldChg chg="modSp add del mod">
        <pc:chgData name="Sigi Jagott" userId="ac4134a1-c8d0-437d-8e32-a4935480bd15" providerId="ADAL" clId="{3AADC9EF-CF3D-479A-89E2-A59F4A55DF72}" dt="2022-08-20T12:03:39.873" v="809" actId="47"/>
        <pc:sldMkLst>
          <pc:docMk/>
          <pc:sldMk cId="1919442479" sldId="1471"/>
        </pc:sldMkLst>
        <pc:spChg chg="mod">
          <ac:chgData name="Sigi Jagott" userId="ac4134a1-c8d0-437d-8e32-a4935480bd15" providerId="ADAL" clId="{3AADC9EF-CF3D-479A-89E2-A59F4A55DF72}" dt="2022-08-20T12:03:04.660" v="784" actId="21"/>
          <ac:spMkLst>
            <pc:docMk/>
            <pc:sldMk cId="1919442479" sldId="1471"/>
            <ac:spMk id="7" creationId="{00000000-0000-0000-0000-000000000000}"/>
          </ac:spMkLst>
        </pc:spChg>
        <pc:spChg chg="mod">
          <ac:chgData name="Sigi Jagott" userId="ac4134a1-c8d0-437d-8e32-a4935480bd15" providerId="ADAL" clId="{3AADC9EF-CF3D-479A-89E2-A59F4A55DF72}" dt="2022-08-20T12:03:18.471" v="793" actId="21"/>
          <ac:spMkLst>
            <pc:docMk/>
            <pc:sldMk cId="1919442479" sldId="1471"/>
            <ac:spMk id="24" creationId="{00000000-0000-0000-0000-000000000000}"/>
          </ac:spMkLst>
        </pc:spChg>
      </pc:sldChg>
      <pc:sldChg chg="addSp modSp mod">
        <pc:chgData name="Sigi Jagott" userId="ac4134a1-c8d0-437d-8e32-a4935480bd15" providerId="ADAL" clId="{3AADC9EF-CF3D-479A-89E2-A59F4A55DF72}" dt="2022-08-20T11:36:13.489" v="88" actId="1076"/>
        <pc:sldMkLst>
          <pc:docMk/>
          <pc:sldMk cId="2924642773" sldId="2147469994"/>
        </pc:sldMkLst>
        <pc:spChg chg="add mod">
          <ac:chgData name="Sigi Jagott" userId="ac4134a1-c8d0-437d-8e32-a4935480bd15" providerId="ADAL" clId="{3AADC9EF-CF3D-479A-89E2-A59F4A55DF72}" dt="2022-08-20T11:36:13.489" v="88" actId="1076"/>
          <ac:spMkLst>
            <pc:docMk/>
            <pc:sldMk cId="2924642773" sldId="2147469994"/>
            <ac:spMk id="4" creationId="{7CE0874D-42AF-BACB-2D10-30B9018DEB94}"/>
          </ac:spMkLst>
        </pc:spChg>
        <pc:spChg chg="mod">
          <ac:chgData name="Sigi Jagott" userId="ac4134a1-c8d0-437d-8e32-a4935480bd15" providerId="ADAL" clId="{3AADC9EF-CF3D-479A-89E2-A59F4A55DF72}" dt="2022-08-20T11:36:02.106" v="85" actId="1076"/>
          <ac:spMkLst>
            <pc:docMk/>
            <pc:sldMk cId="2924642773" sldId="2147469994"/>
            <ac:spMk id="7" creationId="{844C2406-BDEB-79E2-1E9F-2EF156F3EEE9}"/>
          </ac:spMkLst>
        </pc:spChg>
        <pc:picChg chg="mod">
          <ac:chgData name="Sigi Jagott" userId="ac4134a1-c8d0-437d-8e32-a4935480bd15" providerId="ADAL" clId="{3AADC9EF-CF3D-479A-89E2-A59F4A55DF72}" dt="2022-08-20T11:36:04.927" v="87" actId="1076"/>
          <ac:picMkLst>
            <pc:docMk/>
            <pc:sldMk cId="2924642773" sldId="2147469994"/>
            <ac:picMk id="3" creationId="{58BF18B4-FE01-6150-D75E-B882CF1876F9}"/>
          </ac:picMkLst>
        </pc:picChg>
      </pc:sldChg>
      <pc:sldChg chg="addSp delSp modSp del mod modClrScheme chgLayout">
        <pc:chgData name="Sigi Jagott" userId="ac4134a1-c8d0-437d-8e32-a4935480bd15" providerId="ADAL" clId="{3AADC9EF-CF3D-479A-89E2-A59F4A55DF72}" dt="2022-08-20T12:00:32.634" v="777" actId="47"/>
        <pc:sldMkLst>
          <pc:docMk/>
          <pc:sldMk cId="3524665977" sldId="2147469997"/>
        </pc:sldMkLst>
        <pc:spChg chg="del mod ord">
          <ac:chgData name="Sigi Jagott" userId="ac4134a1-c8d0-437d-8e32-a4935480bd15" providerId="ADAL" clId="{3AADC9EF-CF3D-479A-89E2-A59F4A55DF72}" dt="2022-08-20T11:59:34.714" v="703" actId="700"/>
          <ac:spMkLst>
            <pc:docMk/>
            <pc:sldMk cId="3524665977" sldId="2147469997"/>
            <ac:spMk id="2" creationId="{07EB9C51-95C7-6A34-C30B-720A07DA14F6}"/>
          </ac:spMkLst>
        </pc:spChg>
        <pc:spChg chg="del mod ord">
          <ac:chgData name="Sigi Jagott" userId="ac4134a1-c8d0-437d-8e32-a4935480bd15" providerId="ADAL" clId="{3AADC9EF-CF3D-479A-89E2-A59F4A55DF72}" dt="2022-08-20T11:59:34.714" v="703" actId="700"/>
          <ac:spMkLst>
            <pc:docMk/>
            <pc:sldMk cId="3524665977" sldId="2147469997"/>
            <ac:spMk id="3" creationId="{BB3DD8E4-8209-E749-2AB8-D52C20AAA74D}"/>
          </ac:spMkLst>
        </pc:spChg>
        <pc:spChg chg="del">
          <ac:chgData name="Sigi Jagott" userId="ac4134a1-c8d0-437d-8e32-a4935480bd15" providerId="ADAL" clId="{3AADC9EF-CF3D-479A-89E2-A59F4A55DF72}" dt="2022-08-20T11:59:34.714" v="703" actId="700"/>
          <ac:spMkLst>
            <pc:docMk/>
            <pc:sldMk cId="3524665977" sldId="2147469997"/>
            <ac:spMk id="4" creationId="{262C2AFA-F02C-AE7D-E6B7-8E98C093ED00}"/>
          </ac:spMkLst>
        </pc:spChg>
        <pc:spChg chg="add mod ord">
          <ac:chgData name="Sigi Jagott" userId="ac4134a1-c8d0-437d-8e32-a4935480bd15" providerId="ADAL" clId="{3AADC9EF-CF3D-479A-89E2-A59F4A55DF72}" dt="2022-08-20T11:59:34.714" v="703" actId="700"/>
          <ac:spMkLst>
            <pc:docMk/>
            <pc:sldMk cId="3524665977" sldId="2147469997"/>
            <ac:spMk id="5" creationId="{0469B78A-6141-E318-81BE-DBBF13D20752}"/>
          </ac:spMkLst>
        </pc:spChg>
        <pc:spChg chg="add mod ord">
          <ac:chgData name="Sigi Jagott" userId="ac4134a1-c8d0-437d-8e32-a4935480bd15" providerId="ADAL" clId="{3AADC9EF-CF3D-479A-89E2-A59F4A55DF72}" dt="2022-08-20T11:59:34.714" v="703" actId="700"/>
          <ac:spMkLst>
            <pc:docMk/>
            <pc:sldMk cId="3524665977" sldId="2147469997"/>
            <ac:spMk id="6" creationId="{4CBD4025-B5EE-FC56-2D4C-182DC34CBA1D}"/>
          </ac:spMkLst>
        </pc:spChg>
      </pc:sldChg>
      <pc:sldChg chg="addSp modSp mod">
        <pc:chgData name="Sigi Jagott" userId="ac4134a1-c8d0-437d-8e32-a4935480bd15" providerId="ADAL" clId="{3AADC9EF-CF3D-479A-89E2-A59F4A55DF72}" dt="2022-08-20T12:21:26.263" v="1006" actId="20577"/>
        <pc:sldMkLst>
          <pc:docMk/>
          <pc:sldMk cId="1002109060" sldId="2147469999"/>
        </pc:sldMkLst>
        <pc:spChg chg="add mod">
          <ac:chgData name="Sigi Jagott" userId="ac4134a1-c8d0-437d-8e32-a4935480bd15" providerId="ADAL" clId="{3AADC9EF-CF3D-479A-89E2-A59F4A55DF72}" dt="2022-08-20T12:21:26.263" v="1006" actId="20577"/>
          <ac:spMkLst>
            <pc:docMk/>
            <pc:sldMk cId="1002109060" sldId="2147469999"/>
            <ac:spMk id="3" creationId="{78D36476-FA2C-C7BA-856B-46D1A376B099}"/>
          </ac:spMkLst>
        </pc:spChg>
        <pc:spChg chg="add mod">
          <ac:chgData name="Sigi Jagott" userId="ac4134a1-c8d0-437d-8e32-a4935480bd15" providerId="ADAL" clId="{3AADC9EF-CF3D-479A-89E2-A59F4A55DF72}" dt="2022-08-20T12:21:06.558" v="993" actId="20577"/>
          <ac:spMkLst>
            <pc:docMk/>
            <pc:sldMk cId="1002109060" sldId="2147469999"/>
            <ac:spMk id="5" creationId="{DBA4219B-E1D5-610E-FA30-2C8BDFC09371}"/>
          </ac:spMkLst>
        </pc:spChg>
      </pc:sldChg>
      <pc:sldChg chg="modSp mod">
        <pc:chgData name="Sigi Jagott" userId="ac4134a1-c8d0-437d-8e32-a4935480bd15" providerId="ADAL" clId="{3AADC9EF-CF3D-479A-89E2-A59F4A55DF72}" dt="2022-08-20T11:38:24.521" v="162" actId="21"/>
        <pc:sldMkLst>
          <pc:docMk/>
          <pc:sldMk cId="174943793" sldId="2147470000"/>
        </pc:sldMkLst>
        <pc:spChg chg="mod">
          <ac:chgData name="Sigi Jagott" userId="ac4134a1-c8d0-437d-8e32-a4935480bd15" providerId="ADAL" clId="{3AADC9EF-CF3D-479A-89E2-A59F4A55DF72}" dt="2022-08-20T11:38:24.521" v="162" actId="21"/>
          <ac:spMkLst>
            <pc:docMk/>
            <pc:sldMk cId="174943793" sldId="2147470000"/>
            <ac:spMk id="5" creationId="{A91CB57A-3D8C-B209-CE3B-5394AD4E5A73}"/>
          </ac:spMkLst>
        </pc:spChg>
      </pc:sldChg>
      <pc:sldChg chg="modSp mod">
        <pc:chgData name="Sigi Jagott" userId="ac4134a1-c8d0-437d-8e32-a4935480bd15" providerId="ADAL" clId="{3AADC9EF-CF3D-479A-89E2-A59F4A55DF72}" dt="2022-08-20T12:14:19.371" v="966" actId="20577"/>
        <pc:sldMkLst>
          <pc:docMk/>
          <pc:sldMk cId="850533415" sldId="2147470001"/>
        </pc:sldMkLst>
        <pc:spChg chg="mod">
          <ac:chgData name="Sigi Jagott" userId="ac4134a1-c8d0-437d-8e32-a4935480bd15" providerId="ADAL" clId="{3AADC9EF-CF3D-479A-89E2-A59F4A55DF72}" dt="2022-08-20T12:14:19.371" v="966" actId="20577"/>
          <ac:spMkLst>
            <pc:docMk/>
            <pc:sldMk cId="850533415" sldId="2147470001"/>
            <ac:spMk id="5" creationId="{8A260745-9B2D-414D-56A1-E59273CA8053}"/>
          </ac:spMkLst>
        </pc:spChg>
      </pc:sldChg>
      <pc:sldChg chg="modSp mod">
        <pc:chgData name="Sigi Jagott" userId="ac4134a1-c8d0-437d-8e32-a4935480bd15" providerId="ADAL" clId="{3AADC9EF-CF3D-479A-89E2-A59F4A55DF72}" dt="2022-08-20T11:48:52.831" v="463" actId="20577"/>
        <pc:sldMkLst>
          <pc:docMk/>
          <pc:sldMk cId="2807454091" sldId="2147470003"/>
        </pc:sldMkLst>
        <pc:spChg chg="mod">
          <ac:chgData name="Sigi Jagott" userId="ac4134a1-c8d0-437d-8e32-a4935480bd15" providerId="ADAL" clId="{3AADC9EF-CF3D-479A-89E2-A59F4A55DF72}" dt="2022-08-20T11:48:52.831" v="463" actId="20577"/>
          <ac:spMkLst>
            <pc:docMk/>
            <pc:sldMk cId="2807454091" sldId="2147470003"/>
            <ac:spMk id="5" creationId="{8A260745-9B2D-414D-56A1-E59273CA8053}"/>
          </ac:spMkLst>
        </pc:spChg>
      </pc:sldChg>
      <pc:sldChg chg="addSp delSp modSp mod modClrScheme chgLayout">
        <pc:chgData name="Sigi Jagott" userId="ac4134a1-c8d0-437d-8e32-a4935480bd15" providerId="ADAL" clId="{3AADC9EF-CF3D-479A-89E2-A59F4A55DF72}" dt="2022-08-20T11:59:49.944" v="772" actId="5793"/>
        <pc:sldMkLst>
          <pc:docMk/>
          <pc:sldMk cId="221706065" sldId="2147470004"/>
        </pc:sldMkLst>
        <pc:spChg chg="add mod ord">
          <ac:chgData name="Sigi Jagott" userId="ac4134a1-c8d0-437d-8e32-a4935480bd15" providerId="ADAL" clId="{3AADC9EF-CF3D-479A-89E2-A59F4A55DF72}" dt="2022-08-20T11:59:38.425" v="723" actId="20577"/>
          <ac:spMkLst>
            <pc:docMk/>
            <pc:sldMk cId="221706065" sldId="2147470004"/>
            <ac:spMk id="2" creationId="{10E92CB0-B8A1-702D-6451-A5E9D139B7DC}"/>
          </ac:spMkLst>
        </pc:spChg>
        <pc:spChg chg="del mod ord">
          <ac:chgData name="Sigi Jagott" userId="ac4134a1-c8d0-437d-8e32-a4935480bd15" providerId="ADAL" clId="{3AADC9EF-CF3D-479A-89E2-A59F4A55DF72}" dt="2022-08-20T11:59:34.714" v="703" actId="700"/>
          <ac:spMkLst>
            <pc:docMk/>
            <pc:sldMk cId="221706065" sldId="2147470004"/>
            <ac:spMk id="3" creationId="{2030471A-DBA9-DA7F-E315-596A99F2774D}"/>
          </ac:spMkLst>
        </pc:spChg>
        <pc:spChg chg="mod ord">
          <ac:chgData name="Sigi Jagott" userId="ac4134a1-c8d0-437d-8e32-a4935480bd15" providerId="ADAL" clId="{3AADC9EF-CF3D-479A-89E2-A59F4A55DF72}" dt="2022-08-20T11:59:49.944" v="772" actId="5793"/>
          <ac:spMkLst>
            <pc:docMk/>
            <pc:sldMk cId="221706065" sldId="2147470004"/>
            <ac:spMk id="4" creationId="{713B3D8E-0E41-9A95-471C-B34221FD7A77}"/>
          </ac:spMkLst>
        </pc:spChg>
      </pc:sldChg>
      <pc:sldChg chg="modSp mod">
        <pc:chgData name="Sigi Jagott" userId="ac4134a1-c8d0-437d-8e32-a4935480bd15" providerId="ADAL" clId="{3AADC9EF-CF3D-479A-89E2-A59F4A55DF72}" dt="2022-08-20T11:42:20.198" v="216" actId="21"/>
        <pc:sldMkLst>
          <pc:docMk/>
          <pc:sldMk cId="1154972657" sldId="2147470006"/>
        </pc:sldMkLst>
        <pc:spChg chg="mod">
          <ac:chgData name="Sigi Jagott" userId="ac4134a1-c8d0-437d-8e32-a4935480bd15" providerId="ADAL" clId="{3AADC9EF-CF3D-479A-89E2-A59F4A55DF72}" dt="2022-08-20T11:42:20.198" v="216" actId="21"/>
          <ac:spMkLst>
            <pc:docMk/>
            <pc:sldMk cId="1154972657" sldId="2147470006"/>
            <ac:spMk id="5" creationId="{8A260745-9B2D-414D-56A1-E59273CA8053}"/>
          </ac:spMkLst>
        </pc:spChg>
      </pc:sldChg>
      <pc:sldChg chg="del">
        <pc:chgData name="Sigi Jagott" userId="ac4134a1-c8d0-437d-8e32-a4935480bd15" providerId="ADAL" clId="{3AADC9EF-CF3D-479A-89E2-A59F4A55DF72}" dt="2022-08-20T12:22:05.307" v="1060" actId="47"/>
        <pc:sldMkLst>
          <pc:docMk/>
          <pc:sldMk cId="1856666197" sldId="2147470007"/>
        </pc:sldMkLst>
      </pc:sldChg>
      <pc:sldChg chg="modSp mod">
        <pc:chgData name="Sigi Jagott" userId="ac4134a1-c8d0-437d-8e32-a4935480bd15" providerId="ADAL" clId="{3AADC9EF-CF3D-479A-89E2-A59F4A55DF72}" dt="2022-08-20T11:51:25.169" v="568" actId="6549"/>
        <pc:sldMkLst>
          <pc:docMk/>
          <pc:sldMk cId="234962032" sldId="2147470009"/>
        </pc:sldMkLst>
        <pc:spChg chg="mod">
          <ac:chgData name="Sigi Jagott" userId="ac4134a1-c8d0-437d-8e32-a4935480bd15" providerId="ADAL" clId="{3AADC9EF-CF3D-479A-89E2-A59F4A55DF72}" dt="2022-08-20T11:51:25.169" v="568" actId="6549"/>
          <ac:spMkLst>
            <pc:docMk/>
            <pc:sldMk cId="234962032" sldId="2147470009"/>
            <ac:spMk id="5" creationId="{8A260745-9B2D-414D-56A1-E59273CA8053}"/>
          </ac:spMkLst>
        </pc:spChg>
      </pc:sldChg>
      <pc:sldChg chg="modSp mod modClrScheme chgLayout">
        <pc:chgData name="Sigi Jagott" userId="ac4134a1-c8d0-437d-8e32-a4935480bd15" providerId="ADAL" clId="{3AADC9EF-CF3D-479A-89E2-A59F4A55DF72}" dt="2022-08-20T12:00:04.034" v="774" actId="700"/>
        <pc:sldMkLst>
          <pc:docMk/>
          <pc:sldMk cId="234765325" sldId="2147470010"/>
        </pc:sldMkLst>
        <pc:spChg chg="mod ord">
          <ac:chgData name="Sigi Jagott" userId="ac4134a1-c8d0-437d-8e32-a4935480bd15" providerId="ADAL" clId="{3AADC9EF-CF3D-479A-89E2-A59F4A55DF72}" dt="2022-08-20T12:00:04.034" v="774" actId="700"/>
          <ac:spMkLst>
            <pc:docMk/>
            <pc:sldMk cId="234765325" sldId="2147470010"/>
            <ac:spMk id="2" creationId="{4C6B0AC2-B025-A989-29BA-1470A02C5A41}"/>
          </ac:spMkLst>
        </pc:spChg>
        <pc:spChg chg="mod ord">
          <ac:chgData name="Sigi Jagott" userId="ac4134a1-c8d0-437d-8e32-a4935480bd15" providerId="ADAL" clId="{3AADC9EF-CF3D-479A-89E2-A59F4A55DF72}" dt="2022-08-20T12:00:04.034" v="774" actId="700"/>
          <ac:spMkLst>
            <pc:docMk/>
            <pc:sldMk cId="234765325" sldId="2147470010"/>
            <ac:spMk id="5" creationId="{8A260745-9B2D-414D-56A1-E59273CA8053}"/>
          </ac:spMkLst>
        </pc:spChg>
      </pc:sldChg>
      <pc:sldChg chg="modSp mod ord modClrScheme chgLayout">
        <pc:chgData name="Sigi Jagott" userId="ac4134a1-c8d0-437d-8e32-a4935480bd15" providerId="ADAL" clId="{3AADC9EF-CF3D-479A-89E2-A59F4A55DF72}" dt="2022-08-20T12:07:29.444" v="845"/>
        <pc:sldMkLst>
          <pc:docMk/>
          <pc:sldMk cId="2226377623" sldId="2147470011"/>
        </pc:sldMkLst>
        <pc:spChg chg="mod ord">
          <ac:chgData name="Sigi Jagott" userId="ac4134a1-c8d0-437d-8e32-a4935480bd15" providerId="ADAL" clId="{3AADC9EF-CF3D-479A-89E2-A59F4A55DF72}" dt="2022-08-20T12:07:27.209" v="843" actId="21"/>
          <ac:spMkLst>
            <pc:docMk/>
            <pc:sldMk cId="2226377623" sldId="2147470011"/>
            <ac:spMk id="2" creationId="{4C6B0AC2-B025-A989-29BA-1470A02C5A41}"/>
          </ac:spMkLst>
        </pc:spChg>
        <pc:spChg chg="mod ord">
          <ac:chgData name="Sigi Jagott" userId="ac4134a1-c8d0-437d-8e32-a4935480bd15" providerId="ADAL" clId="{3AADC9EF-CF3D-479A-89E2-A59F4A55DF72}" dt="2022-08-20T12:00:22.157" v="776" actId="700"/>
          <ac:spMkLst>
            <pc:docMk/>
            <pc:sldMk cId="2226377623" sldId="2147470011"/>
            <ac:spMk id="5" creationId="{8A260745-9B2D-414D-56A1-E59273CA8053}"/>
          </ac:spMkLst>
        </pc:spChg>
      </pc:sldChg>
      <pc:sldChg chg="modSp mod">
        <pc:chgData name="Sigi Jagott" userId="ac4134a1-c8d0-437d-8e32-a4935480bd15" providerId="ADAL" clId="{3AADC9EF-CF3D-479A-89E2-A59F4A55DF72}" dt="2022-08-20T11:47:27.849" v="321" actId="14100"/>
        <pc:sldMkLst>
          <pc:docMk/>
          <pc:sldMk cId="1724960570" sldId="2147470012"/>
        </pc:sldMkLst>
        <pc:spChg chg="mod">
          <ac:chgData name="Sigi Jagott" userId="ac4134a1-c8d0-437d-8e32-a4935480bd15" providerId="ADAL" clId="{3AADC9EF-CF3D-479A-89E2-A59F4A55DF72}" dt="2022-08-20T11:47:27.849" v="321" actId="14100"/>
          <ac:spMkLst>
            <pc:docMk/>
            <pc:sldMk cId="1724960570" sldId="2147470012"/>
            <ac:spMk id="5" creationId="{8A260745-9B2D-414D-56A1-E59273CA8053}"/>
          </ac:spMkLst>
        </pc:spChg>
      </pc:sldChg>
      <pc:sldChg chg="modSp mod">
        <pc:chgData name="Sigi Jagott" userId="ac4134a1-c8d0-437d-8e32-a4935480bd15" providerId="ADAL" clId="{3AADC9EF-CF3D-479A-89E2-A59F4A55DF72}" dt="2022-08-20T11:38:45.832" v="188" actId="20577"/>
        <pc:sldMkLst>
          <pc:docMk/>
          <pc:sldMk cId="265443972" sldId="2147470015"/>
        </pc:sldMkLst>
        <pc:spChg chg="mod">
          <ac:chgData name="Sigi Jagott" userId="ac4134a1-c8d0-437d-8e32-a4935480bd15" providerId="ADAL" clId="{3AADC9EF-CF3D-479A-89E2-A59F4A55DF72}" dt="2022-08-20T11:38:45.832" v="188" actId="20577"/>
          <ac:spMkLst>
            <pc:docMk/>
            <pc:sldMk cId="265443972" sldId="2147470015"/>
            <ac:spMk id="5" creationId="{8A260745-9B2D-414D-56A1-E59273CA8053}"/>
          </ac:spMkLst>
        </pc:spChg>
      </pc:sldChg>
      <pc:sldChg chg="modSp mod">
        <pc:chgData name="Sigi Jagott" userId="ac4134a1-c8d0-437d-8e32-a4935480bd15" providerId="ADAL" clId="{3AADC9EF-CF3D-479A-89E2-A59F4A55DF72}" dt="2022-08-20T11:47:44.760" v="331" actId="20577"/>
        <pc:sldMkLst>
          <pc:docMk/>
          <pc:sldMk cId="1858799246" sldId="2147470016"/>
        </pc:sldMkLst>
        <pc:spChg chg="mod">
          <ac:chgData name="Sigi Jagott" userId="ac4134a1-c8d0-437d-8e32-a4935480bd15" providerId="ADAL" clId="{3AADC9EF-CF3D-479A-89E2-A59F4A55DF72}" dt="2022-08-20T11:47:44.760" v="331" actId="20577"/>
          <ac:spMkLst>
            <pc:docMk/>
            <pc:sldMk cId="1858799246" sldId="2147470016"/>
            <ac:spMk id="5" creationId="{8A260745-9B2D-414D-56A1-E59273CA8053}"/>
          </ac:spMkLst>
        </pc:spChg>
      </pc:sldChg>
      <pc:sldChg chg="addSp delSp modSp new mod ord">
        <pc:chgData name="Sigi Jagott" userId="ac4134a1-c8d0-437d-8e32-a4935480bd15" providerId="ADAL" clId="{3AADC9EF-CF3D-479A-89E2-A59F4A55DF72}" dt="2022-08-20T11:58:23.628" v="702"/>
        <pc:sldMkLst>
          <pc:docMk/>
          <pc:sldMk cId="3058860187" sldId="2147470017"/>
        </pc:sldMkLst>
        <pc:spChg chg="mod">
          <ac:chgData name="Sigi Jagott" userId="ac4134a1-c8d0-437d-8e32-a4935480bd15" providerId="ADAL" clId="{3AADC9EF-CF3D-479A-89E2-A59F4A55DF72}" dt="2022-08-20T11:56:09.028" v="636" actId="14100"/>
          <ac:spMkLst>
            <pc:docMk/>
            <pc:sldMk cId="3058860187" sldId="2147470017"/>
            <ac:spMk id="2" creationId="{2EE42EDA-D058-5E3F-2691-1F27402CC07D}"/>
          </ac:spMkLst>
        </pc:spChg>
        <pc:spChg chg="mod">
          <ac:chgData name="Sigi Jagott" userId="ac4134a1-c8d0-437d-8e32-a4935480bd15" providerId="ADAL" clId="{3AADC9EF-CF3D-479A-89E2-A59F4A55DF72}" dt="2022-08-20T11:56:12.418" v="637" actId="14100"/>
          <ac:spMkLst>
            <pc:docMk/>
            <pc:sldMk cId="3058860187" sldId="2147470017"/>
            <ac:spMk id="3" creationId="{A5FB7E5F-62A2-9709-44E6-8ED9C2283543}"/>
          </ac:spMkLst>
        </pc:spChg>
        <pc:spChg chg="add mod">
          <ac:chgData name="Sigi Jagott" userId="ac4134a1-c8d0-437d-8e32-a4935480bd15" providerId="ADAL" clId="{3AADC9EF-CF3D-479A-89E2-A59F4A55DF72}" dt="2022-08-20T11:58:10.234" v="699" actId="164"/>
          <ac:spMkLst>
            <pc:docMk/>
            <pc:sldMk cId="3058860187" sldId="2147470017"/>
            <ac:spMk id="6" creationId="{C1B04034-4ABA-BC7A-EFDD-31FAAB042C19}"/>
          </ac:spMkLst>
        </pc:spChg>
        <pc:spChg chg="add mod">
          <ac:chgData name="Sigi Jagott" userId="ac4134a1-c8d0-437d-8e32-a4935480bd15" providerId="ADAL" clId="{3AADC9EF-CF3D-479A-89E2-A59F4A55DF72}" dt="2022-08-20T11:58:10.234" v="699" actId="164"/>
          <ac:spMkLst>
            <pc:docMk/>
            <pc:sldMk cId="3058860187" sldId="2147470017"/>
            <ac:spMk id="7" creationId="{C8ECA6C7-6E5E-245A-35B0-ECAE08D17CFD}"/>
          </ac:spMkLst>
        </pc:spChg>
        <pc:spChg chg="add mod ord">
          <ac:chgData name="Sigi Jagott" userId="ac4134a1-c8d0-437d-8e32-a4935480bd15" providerId="ADAL" clId="{3AADC9EF-CF3D-479A-89E2-A59F4A55DF72}" dt="2022-08-20T11:58:10.234" v="699" actId="164"/>
          <ac:spMkLst>
            <pc:docMk/>
            <pc:sldMk cId="3058860187" sldId="2147470017"/>
            <ac:spMk id="8" creationId="{7CCF0DED-3D24-FDC0-BADC-39A701462E3B}"/>
          </ac:spMkLst>
        </pc:spChg>
        <pc:spChg chg="add del mod">
          <ac:chgData name="Sigi Jagott" userId="ac4134a1-c8d0-437d-8e32-a4935480bd15" providerId="ADAL" clId="{3AADC9EF-CF3D-479A-89E2-A59F4A55DF72}" dt="2022-08-20T11:57:39.504" v="692" actId="478"/>
          <ac:spMkLst>
            <pc:docMk/>
            <pc:sldMk cId="3058860187" sldId="2147470017"/>
            <ac:spMk id="9" creationId="{7FA0608E-B0AC-C5EB-361F-9DB1B6A0C354}"/>
          </ac:spMkLst>
        </pc:spChg>
        <pc:grpChg chg="add mod">
          <ac:chgData name="Sigi Jagott" userId="ac4134a1-c8d0-437d-8e32-a4935480bd15" providerId="ADAL" clId="{3AADC9EF-CF3D-479A-89E2-A59F4A55DF72}" dt="2022-08-20T11:58:18.273" v="700" actId="1076"/>
          <ac:grpSpMkLst>
            <pc:docMk/>
            <pc:sldMk cId="3058860187" sldId="2147470017"/>
            <ac:grpSpMk id="10" creationId="{9DB45051-7485-3DD3-3C64-1242B3BCE7B1}"/>
          </ac:grpSpMkLst>
        </pc:grpChg>
        <pc:picChg chg="add del mod">
          <ac:chgData name="Sigi Jagott" userId="ac4134a1-c8d0-437d-8e32-a4935480bd15" providerId="ADAL" clId="{3AADC9EF-CF3D-479A-89E2-A59F4A55DF72}" dt="2022-08-20T11:54:45.506" v="627"/>
          <ac:picMkLst>
            <pc:docMk/>
            <pc:sldMk cId="3058860187" sldId="2147470017"/>
            <ac:picMk id="4" creationId="{CF0A9B7D-36B5-0E12-17BC-3CB2458149FC}"/>
          </ac:picMkLst>
        </pc:picChg>
        <pc:picChg chg="add mod">
          <ac:chgData name="Sigi Jagott" userId="ac4134a1-c8d0-437d-8e32-a4935480bd15" providerId="ADAL" clId="{3AADC9EF-CF3D-479A-89E2-A59F4A55DF72}" dt="2022-08-20T11:58:10.234" v="699" actId="164"/>
          <ac:picMkLst>
            <pc:docMk/>
            <pc:sldMk cId="3058860187" sldId="2147470017"/>
            <ac:picMk id="5" creationId="{5E262E9F-3EC2-6E8A-8BC1-A5544DA8DC43}"/>
          </ac:picMkLst>
        </pc:picChg>
      </pc:sldChg>
      <pc:sldChg chg="new del">
        <pc:chgData name="Sigi Jagott" userId="ac4134a1-c8d0-437d-8e32-a4935480bd15" providerId="ADAL" clId="{3AADC9EF-CF3D-479A-89E2-A59F4A55DF72}" dt="2022-08-20T12:00:10.328" v="775" actId="47"/>
        <pc:sldMkLst>
          <pc:docMk/>
          <pc:sldMk cId="352580488" sldId="2147470018"/>
        </pc:sldMkLst>
      </pc:sldChg>
      <pc:sldChg chg="addSp modSp new mod">
        <pc:chgData name="Sigi Jagott" userId="ac4134a1-c8d0-437d-8e32-a4935480bd15" providerId="ADAL" clId="{3AADC9EF-CF3D-479A-89E2-A59F4A55DF72}" dt="2022-08-20T12:16:23.299" v="983" actId="14100"/>
        <pc:sldMkLst>
          <pc:docMk/>
          <pc:sldMk cId="1185588702" sldId="2147470018"/>
        </pc:sldMkLst>
        <pc:spChg chg="mod">
          <ac:chgData name="Sigi Jagott" userId="ac4134a1-c8d0-437d-8e32-a4935480bd15" providerId="ADAL" clId="{3AADC9EF-CF3D-479A-89E2-A59F4A55DF72}" dt="2022-08-20T12:03:27.001" v="807" actId="20577"/>
          <ac:spMkLst>
            <pc:docMk/>
            <pc:sldMk cId="1185588702" sldId="2147470018"/>
            <ac:spMk id="2" creationId="{DE7E1FEF-7390-EB62-7825-92A702C277B8}"/>
          </ac:spMkLst>
        </pc:spChg>
        <pc:spChg chg="mod">
          <ac:chgData name="Sigi Jagott" userId="ac4134a1-c8d0-437d-8e32-a4935480bd15" providerId="ADAL" clId="{3AADC9EF-CF3D-479A-89E2-A59F4A55DF72}" dt="2022-08-20T12:16:23.299" v="983" actId="14100"/>
          <ac:spMkLst>
            <pc:docMk/>
            <pc:sldMk cId="1185588702" sldId="2147470018"/>
            <ac:spMk id="3" creationId="{65FDD74A-8F42-397C-1205-A9DF12F47D16}"/>
          </ac:spMkLst>
        </pc:spChg>
        <pc:spChg chg="add mod">
          <ac:chgData name="Sigi Jagott" userId="ac4134a1-c8d0-437d-8e32-a4935480bd15" providerId="ADAL" clId="{3AADC9EF-CF3D-479A-89E2-A59F4A55DF72}" dt="2022-08-20T12:16:18.029" v="982" actId="1076"/>
          <ac:spMkLst>
            <pc:docMk/>
            <pc:sldMk cId="1185588702" sldId="2147470018"/>
            <ac:spMk id="4" creationId="{7362DD39-B824-84D7-414D-6CC27D270844}"/>
          </ac:spMkLst>
        </pc:spChg>
      </pc:sldChg>
      <pc:sldChg chg="addSp modSp new mod">
        <pc:chgData name="Sigi Jagott" userId="ac4134a1-c8d0-437d-8e32-a4935480bd15" providerId="ADAL" clId="{3AADC9EF-CF3D-479A-89E2-A59F4A55DF72}" dt="2022-08-20T12:05:57.417" v="831" actId="11529"/>
        <pc:sldMkLst>
          <pc:docMk/>
          <pc:sldMk cId="2143166921" sldId="2147470019"/>
        </pc:sldMkLst>
        <pc:spChg chg="mod">
          <ac:chgData name="Sigi Jagott" userId="ac4134a1-c8d0-437d-8e32-a4935480bd15" providerId="ADAL" clId="{3AADC9EF-CF3D-479A-89E2-A59F4A55DF72}" dt="2022-08-20T12:04:52.277" v="817" actId="20577"/>
          <ac:spMkLst>
            <pc:docMk/>
            <pc:sldMk cId="2143166921" sldId="2147470019"/>
            <ac:spMk id="2" creationId="{3A137943-39D5-B2B2-E63A-F92FE74F8D64}"/>
          </ac:spMkLst>
        </pc:spChg>
        <pc:spChg chg="mod">
          <ac:chgData name="Sigi Jagott" userId="ac4134a1-c8d0-437d-8e32-a4935480bd15" providerId="ADAL" clId="{3AADC9EF-CF3D-479A-89E2-A59F4A55DF72}" dt="2022-08-20T12:05:27.385" v="826" actId="15"/>
          <ac:spMkLst>
            <pc:docMk/>
            <pc:sldMk cId="2143166921" sldId="2147470019"/>
            <ac:spMk id="3" creationId="{14CF82A2-3119-5FEC-E8C2-2258A3A0FF16}"/>
          </ac:spMkLst>
        </pc:spChg>
        <pc:spChg chg="add mod">
          <ac:chgData name="Sigi Jagott" userId="ac4134a1-c8d0-437d-8e32-a4935480bd15" providerId="ADAL" clId="{3AADC9EF-CF3D-479A-89E2-A59F4A55DF72}" dt="2022-08-20T12:05:17.162" v="824" actId="1076"/>
          <ac:spMkLst>
            <pc:docMk/>
            <pc:sldMk cId="2143166921" sldId="2147470019"/>
            <ac:spMk id="4" creationId="{5C2CDC46-D40D-683D-1CED-5E90BE9A4360}"/>
          </ac:spMkLst>
        </pc:spChg>
        <pc:spChg chg="add mod">
          <ac:chgData name="Sigi Jagott" userId="ac4134a1-c8d0-437d-8e32-a4935480bd15" providerId="ADAL" clId="{3AADC9EF-CF3D-479A-89E2-A59F4A55DF72}" dt="2022-08-20T12:05:36.839" v="830" actId="20577"/>
          <ac:spMkLst>
            <pc:docMk/>
            <pc:sldMk cId="2143166921" sldId="2147470019"/>
            <ac:spMk id="6" creationId="{9AC5BBCA-D49F-B578-A6BE-D56B645673B1}"/>
          </ac:spMkLst>
        </pc:spChg>
        <pc:spChg chg="add">
          <ac:chgData name="Sigi Jagott" userId="ac4134a1-c8d0-437d-8e32-a4935480bd15" providerId="ADAL" clId="{3AADC9EF-CF3D-479A-89E2-A59F4A55DF72}" dt="2022-08-20T12:05:57.417" v="831" actId="11529"/>
          <ac:spMkLst>
            <pc:docMk/>
            <pc:sldMk cId="2143166921" sldId="2147470019"/>
            <ac:spMk id="8" creationId="{B3FD469F-DB40-0853-E5ED-9FC3803FD4B0}"/>
          </ac:spMkLst>
        </pc:spChg>
        <pc:picChg chg="add mod">
          <ac:chgData name="Sigi Jagott" userId="ac4134a1-c8d0-437d-8e32-a4935480bd15" providerId="ADAL" clId="{3AADC9EF-CF3D-479A-89E2-A59F4A55DF72}" dt="2022-08-20T12:05:18.903" v="825" actId="1076"/>
          <ac:picMkLst>
            <pc:docMk/>
            <pc:sldMk cId="2143166921" sldId="2147470019"/>
            <ac:picMk id="5" creationId="{191F28B7-1603-D505-2BEC-D55C24764D55}"/>
          </ac:picMkLst>
        </pc:picChg>
        <pc:picChg chg="add mod">
          <ac:chgData name="Sigi Jagott" userId="ac4134a1-c8d0-437d-8e32-a4935480bd15" providerId="ADAL" clId="{3AADC9EF-CF3D-479A-89E2-A59F4A55DF72}" dt="2022-08-20T12:05:34.646" v="828" actId="1076"/>
          <ac:picMkLst>
            <pc:docMk/>
            <pc:sldMk cId="2143166921" sldId="2147470019"/>
            <ac:picMk id="7" creationId="{C425EBD1-59DF-DA7C-0858-656691A219A5}"/>
          </ac:picMkLst>
        </pc:picChg>
      </pc:sldChg>
      <pc:sldChg chg="modSp new mod">
        <pc:chgData name="Sigi Jagott" userId="ac4134a1-c8d0-437d-8e32-a4935480bd15" providerId="ADAL" clId="{3AADC9EF-CF3D-479A-89E2-A59F4A55DF72}" dt="2022-08-20T12:07:16.420" v="842" actId="27636"/>
        <pc:sldMkLst>
          <pc:docMk/>
          <pc:sldMk cId="2818523232" sldId="2147470020"/>
        </pc:sldMkLst>
        <pc:spChg chg="mod">
          <ac:chgData name="Sigi Jagott" userId="ac4134a1-c8d0-437d-8e32-a4935480bd15" providerId="ADAL" clId="{3AADC9EF-CF3D-479A-89E2-A59F4A55DF72}" dt="2022-08-20T12:07:10.159" v="835"/>
          <ac:spMkLst>
            <pc:docMk/>
            <pc:sldMk cId="2818523232" sldId="2147470020"/>
            <ac:spMk id="2" creationId="{A6B8E1A2-0F93-2C21-738E-CEBE3B01B1C8}"/>
          </ac:spMkLst>
        </pc:spChg>
        <pc:spChg chg="mod">
          <ac:chgData name="Sigi Jagott" userId="ac4134a1-c8d0-437d-8e32-a4935480bd15" providerId="ADAL" clId="{3AADC9EF-CF3D-479A-89E2-A59F4A55DF72}" dt="2022-08-20T12:07:16.420" v="842" actId="27636"/>
          <ac:spMkLst>
            <pc:docMk/>
            <pc:sldMk cId="2818523232" sldId="2147470020"/>
            <ac:spMk id="3" creationId="{BE3A789D-2ACD-525C-C372-31DA8255DAE3}"/>
          </ac:spMkLst>
        </pc:spChg>
      </pc:sldChg>
      <pc:sldChg chg="modSp new mod">
        <pc:chgData name="Sigi Jagott" userId="ac4134a1-c8d0-437d-8e32-a4935480bd15" providerId="ADAL" clId="{3AADC9EF-CF3D-479A-89E2-A59F4A55DF72}" dt="2022-08-20T12:22:55.724" v="1073" actId="20577"/>
        <pc:sldMkLst>
          <pc:docMk/>
          <pc:sldMk cId="3809413378" sldId="2147470021"/>
        </pc:sldMkLst>
        <pc:spChg chg="mod">
          <ac:chgData name="Sigi Jagott" userId="ac4134a1-c8d0-437d-8e32-a4935480bd15" providerId="ADAL" clId="{3AADC9EF-CF3D-479A-89E2-A59F4A55DF72}" dt="2022-08-20T12:21:53.427" v="1059" actId="20577"/>
          <ac:spMkLst>
            <pc:docMk/>
            <pc:sldMk cId="3809413378" sldId="2147470021"/>
            <ac:spMk id="2" creationId="{C446FCD0-C54B-A233-ED4D-24D4C83A4FD2}"/>
          </ac:spMkLst>
        </pc:spChg>
        <pc:spChg chg="mod">
          <ac:chgData name="Sigi Jagott" userId="ac4134a1-c8d0-437d-8e32-a4935480bd15" providerId="ADAL" clId="{3AADC9EF-CF3D-479A-89E2-A59F4A55DF72}" dt="2022-08-20T12:22:55.724" v="1073" actId="20577"/>
          <ac:spMkLst>
            <pc:docMk/>
            <pc:sldMk cId="3809413378" sldId="2147470021"/>
            <ac:spMk id="3" creationId="{8A8627BE-01A5-2F2C-62DD-9958265C1243}"/>
          </ac:spMkLst>
        </pc:spChg>
      </pc:sldChg>
      <pc:sldMasterChg chg="delSldLayout">
        <pc:chgData name="Sigi Jagott" userId="ac4134a1-c8d0-437d-8e32-a4935480bd15" providerId="ADAL" clId="{3AADC9EF-CF3D-479A-89E2-A59F4A55DF72}" dt="2022-08-20T12:03:39.873" v="809" actId="47"/>
        <pc:sldMasterMkLst>
          <pc:docMk/>
          <pc:sldMasterMk cId="2451026457" sldId="2147483648"/>
        </pc:sldMasterMkLst>
        <pc:sldLayoutChg chg="del">
          <pc:chgData name="Sigi Jagott" userId="ac4134a1-c8d0-437d-8e32-a4935480bd15" providerId="ADAL" clId="{3AADC9EF-CF3D-479A-89E2-A59F4A55DF72}" dt="2022-08-20T12:03:39.873" v="809" actId="47"/>
          <pc:sldLayoutMkLst>
            <pc:docMk/>
            <pc:sldMasterMk cId="2451026457" sldId="2147483648"/>
            <pc:sldLayoutMk cId="432493187" sldId="2147483661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0BDD3D-99DA-4A1D-B224-AE92BB309D4F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B3BE85-99F4-4B3C-A298-EB819596EE3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6506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techcommunity.microsoft.com/t5/exchange-team-blog/decommissioning-exchange-server-2013/ba-p/3613793" TargetMode="External"/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50" dirty="0">
              <a:latin typeface="Calibri"/>
              <a:cs typeface="Calibri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9/14/2022 3:2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16314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1890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docs.microsoft.com/exchange/exchange-deployment-assistant?view=exchserver-2019</a:t>
            </a:r>
          </a:p>
          <a:p>
            <a:r>
              <a:rPr lang="en-US" dirty="0"/>
              <a:t>DFL = Domain Functional Level</a:t>
            </a:r>
          </a:p>
          <a:p>
            <a:r>
              <a:rPr lang="en-US" dirty="0"/>
              <a:t>FFL = Forest Functional Leve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53077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docs.microsoft.com/exchange/exchange-deployment-assistant?view=exchserver-2019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4251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6112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ww.iis.net/downloads/microsoft/url-rewrite#additionalDownload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0554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8012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aka.ms/ExchangeHealthChecker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5873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hostbusters: Never Cross the Stream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516239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70132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15241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50" dirty="0">
              <a:latin typeface="Calibri"/>
              <a:cs typeface="Calibri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9/14/2022 3:2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56130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26766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8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SA = alternate service account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451894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75299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70913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83248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11266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34768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959333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86897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84225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NG = Cryptography Next Generation</a:t>
            </a:r>
          </a:p>
          <a:p>
            <a:r>
              <a:rPr lang="en-US" dirty="0"/>
              <a:t>CAPI1 = Cryptographic API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847703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Decommissioning Exchange Server 2013 - Microsoft Tech Community</a:t>
            </a:r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03987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98582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ction 1 – Thomas </a:t>
            </a:r>
          </a:p>
          <a:p>
            <a:r>
              <a:rPr lang="en-US" dirty="0"/>
              <a:t>Section 2 - Sigi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9761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change PA Link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38193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change PA Link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90013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change PA Link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15151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9429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0105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1A42E6-889E-F787-8CEC-7DD334AB635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43FFED-59CF-034E-BBDE-BBF0E45A71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589264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7DBBC-C9B7-7B17-D965-7840485B0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46426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19469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C7CC5E-D5B6-33C7-B770-F750A22C2F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864E9B-D449-964C-0704-DA6C3FA424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DFCD33-0289-DED1-1323-EDE510CC06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67414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F1C4B08-89A7-32D5-9307-2C331D09F1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927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C189B0-150D-85A0-CE90-1672673023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0366" y="5141751"/>
            <a:ext cx="1718517" cy="156527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468AFBA-1142-3EDE-1BB5-45FE9DAFCE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1716249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54EFE4-0D47-6EEC-BA09-2809BA66B3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4200" y="3176749"/>
            <a:ext cx="10515600" cy="3096410"/>
          </a:xfrm>
        </p:spPr>
        <p:txBody>
          <a:bodyPr/>
          <a:lstStyle>
            <a:lvl1pPr>
              <a:defRPr>
                <a:solidFill>
                  <a:srgbClr val="59E6FD"/>
                </a:solidFill>
              </a:defRPr>
            </a:lvl1pPr>
            <a:lvl2pPr>
              <a:defRPr>
                <a:solidFill>
                  <a:srgbClr val="59E6FD"/>
                </a:solidFill>
              </a:defRPr>
            </a:lvl2pPr>
            <a:lvl3pPr>
              <a:defRPr>
                <a:solidFill>
                  <a:srgbClr val="59E6FD"/>
                </a:solidFill>
              </a:defRPr>
            </a:lvl3pPr>
            <a:lvl4pPr>
              <a:defRPr>
                <a:solidFill>
                  <a:srgbClr val="59E6FD"/>
                </a:solidFill>
              </a:defRPr>
            </a:lvl4pPr>
            <a:lvl5pPr>
              <a:defRPr>
                <a:solidFill>
                  <a:srgbClr val="59E6F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F5F6F8-756E-14B4-D90B-33650CC78E6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168" y="810398"/>
            <a:ext cx="1529739" cy="327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6311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F1C4B08-89A7-32D5-9307-2C331D09F1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9901"/>
            <a:ext cx="12192000" cy="685205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C189B0-150D-85A0-CE90-1672673023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0366" y="5141751"/>
            <a:ext cx="1718517" cy="156527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468AFBA-1142-3EDE-1BB5-45FE9DAFCE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1716249"/>
            <a:ext cx="10515600" cy="1325563"/>
          </a:xfrm>
        </p:spPr>
        <p:txBody>
          <a:bodyPr/>
          <a:lstStyle>
            <a:lvl1pPr>
              <a:defRPr>
                <a:solidFill>
                  <a:srgbClr val="00386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54EFE4-0D47-6EEC-BA09-2809BA66B3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4200" y="3176749"/>
            <a:ext cx="10515600" cy="3096410"/>
          </a:xfrm>
        </p:spPr>
        <p:txBody>
          <a:bodyPr/>
          <a:lstStyle>
            <a:lvl1pPr>
              <a:defRPr>
                <a:solidFill>
                  <a:srgbClr val="003867"/>
                </a:solidFill>
              </a:defRPr>
            </a:lvl1pPr>
            <a:lvl2pPr>
              <a:defRPr>
                <a:solidFill>
                  <a:srgbClr val="003867"/>
                </a:solidFill>
              </a:defRPr>
            </a:lvl2pPr>
            <a:lvl3pPr>
              <a:defRPr>
                <a:solidFill>
                  <a:srgbClr val="003867"/>
                </a:solidFill>
              </a:defRPr>
            </a:lvl3pPr>
            <a:lvl4pPr>
              <a:defRPr>
                <a:solidFill>
                  <a:srgbClr val="003867"/>
                </a:solidFill>
              </a:defRPr>
            </a:lvl4pPr>
            <a:lvl5pPr>
              <a:defRPr>
                <a:solidFill>
                  <a:srgbClr val="003867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BCECA8-978E-5A17-E352-D0533CA2A77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6479" y="810398"/>
            <a:ext cx="1520900" cy="327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6754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8F0AF6-3C82-E8ED-E86D-0D82CF428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67D545A-ED45-A00D-D7E2-A4AA74C856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D6317ED-D2BF-EC12-40F8-88D2306D90F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2164" y="178014"/>
            <a:ext cx="968479" cy="88211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0CDD52B-C48E-40EA-C8AA-486376EFA2CA}"/>
              </a:ext>
            </a:extLst>
          </p:cNvPr>
          <p:cNvSpPr/>
          <p:nvPr userDrawn="1"/>
        </p:nvSpPr>
        <p:spPr>
          <a:xfrm>
            <a:off x="0" y="1087120"/>
            <a:ext cx="12192000" cy="5496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FE35698-15C3-06EF-8B8E-B3D7AF418BD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066483" y="2797493"/>
            <a:ext cx="9215437" cy="2387600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4B05D85-1252-428E-7AB9-868F493D87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66800" y="1892936"/>
            <a:ext cx="8788400" cy="778827"/>
          </a:xfrm>
        </p:spPr>
        <p:txBody>
          <a:bodyPr>
            <a:normAutofit/>
          </a:bodyPr>
          <a:lstStyle>
            <a:lvl1pPr marL="0" indent="0">
              <a:buNone/>
              <a:defRPr sz="4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1C31A64-527C-4EEF-79AC-F245D0811C0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762" y="397776"/>
            <a:ext cx="1328344" cy="284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8538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8F0AF6-3C82-E8ED-E86D-0D82CF428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67D545A-ED45-A00D-D7E2-A4AA74C856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520" b="84416"/>
          <a:stretch/>
        </p:blipFill>
        <p:spPr>
          <a:xfrm>
            <a:off x="0" y="5378501"/>
            <a:ext cx="12192000" cy="150018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D6317ED-D2BF-EC12-40F8-88D2306D90F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3281" y="6012674"/>
            <a:ext cx="859917" cy="78323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0CDD52B-C48E-40EA-C8AA-486376EFA2CA}"/>
              </a:ext>
            </a:extLst>
          </p:cNvPr>
          <p:cNvSpPr/>
          <p:nvPr userDrawn="1"/>
        </p:nvSpPr>
        <p:spPr>
          <a:xfrm>
            <a:off x="0" y="1087120"/>
            <a:ext cx="12192000" cy="47557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FE35698-15C3-06EF-8B8E-B3D7AF418BD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066483" y="2002972"/>
            <a:ext cx="9215437" cy="2387600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4B05D85-1252-428E-7AB9-868F493D87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66800" y="1098415"/>
            <a:ext cx="8788400" cy="778827"/>
          </a:xfrm>
        </p:spPr>
        <p:txBody>
          <a:bodyPr>
            <a:normAutofit/>
          </a:bodyPr>
          <a:lstStyle>
            <a:lvl1pPr marL="0" indent="0">
              <a:buNone/>
              <a:defRPr sz="4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A385F30-DE3E-36E5-7D71-A6B77814D31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762" y="6215082"/>
            <a:ext cx="1328344" cy="284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7082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92C486FA-6FAF-21F0-BFE3-8ACB8E496145}"/>
              </a:ext>
            </a:extLst>
          </p:cNvPr>
          <p:cNvSpPr/>
          <p:nvPr userDrawn="1"/>
        </p:nvSpPr>
        <p:spPr>
          <a:xfrm>
            <a:off x="0" y="1087120"/>
            <a:ext cx="12192000" cy="5496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3973B9-C338-0147-4523-F32576AE17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92112"/>
            <a:ext cx="10515600" cy="107374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FC15BC-7017-BED7-25AE-DB20C04E0B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028416"/>
            <a:ext cx="5181600" cy="35493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4DF90B-FEDB-2D32-E058-4D300FA96C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028416"/>
            <a:ext cx="5181600" cy="35493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189D03-544E-51E4-41FE-A6688D2655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520" b="84416"/>
          <a:stretch/>
        </p:blipFill>
        <p:spPr>
          <a:xfrm>
            <a:off x="0" y="5378501"/>
            <a:ext cx="12192000" cy="150018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BD93ABE-E660-EAC8-4BC7-655056AF01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3281" y="6012674"/>
            <a:ext cx="859917" cy="78323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5FF393B-6AAC-3F6E-9E1A-2E6E5AAB6F8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762" y="6215082"/>
            <a:ext cx="1328344" cy="284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5910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D864664-8F4C-6068-100E-D1A0EFF699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927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8F9A844-49CA-8AB7-C7D4-676E7E8EE7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2164" y="178014"/>
            <a:ext cx="968479" cy="88211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92C486FA-6FAF-21F0-BFE3-8ACB8E496145}"/>
              </a:ext>
            </a:extLst>
          </p:cNvPr>
          <p:cNvSpPr/>
          <p:nvPr userDrawn="1"/>
        </p:nvSpPr>
        <p:spPr>
          <a:xfrm>
            <a:off x="0" y="1087120"/>
            <a:ext cx="12192000" cy="5496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3973B9-C338-0147-4523-F32576AE17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86575"/>
            <a:ext cx="10515600" cy="107374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FC15BC-7017-BED7-25AE-DB20C04E0B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722879"/>
            <a:ext cx="5181600" cy="35493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4DF90B-FEDB-2D32-E058-4D300FA96C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722879"/>
            <a:ext cx="5181600" cy="35493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57137E7-FAE1-78FA-CFFE-D592C601873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762" y="397776"/>
            <a:ext cx="1328344" cy="284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8784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D864664-8F4C-6068-100E-D1A0EFF699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927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8F9A844-49CA-8AB7-C7D4-676E7E8EE7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2164" y="178014"/>
            <a:ext cx="968479" cy="88211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3973B9-C338-0147-4523-F32576AE17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94309"/>
            <a:ext cx="10515600" cy="107374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FC15BC-7017-BED7-25AE-DB20C04E0B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3130613"/>
            <a:ext cx="5181600" cy="3549373"/>
          </a:xfrm>
        </p:spPr>
        <p:txBody>
          <a:bodyPr/>
          <a:lstStyle>
            <a:lvl1pPr>
              <a:defRPr>
                <a:solidFill>
                  <a:srgbClr val="59E6FD"/>
                </a:solidFill>
              </a:defRPr>
            </a:lvl1pPr>
            <a:lvl2pPr>
              <a:defRPr>
                <a:solidFill>
                  <a:srgbClr val="59E6FD"/>
                </a:solidFill>
              </a:defRPr>
            </a:lvl2pPr>
            <a:lvl3pPr>
              <a:defRPr>
                <a:solidFill>
                  <a:srgbClr val="59E6FD"/>
                </a:solidFill>
              </a:defRPr>
            </a:lvl3pPr>
            <a:lvl4pPr>
              <a:defRPr>
                <a:solidFill>
                  <a:srgbClr val="59E6FD"/>
                </a:solidFill>
              </a:defRPr>
            </a:lvl4pPr>
            <a:lvl5pPr>
              <a:defRPr>
                <a:solidFill>
                  <a:srgbClr val="59E6F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4DF90B-FEDB-2D32-E058-4D300FA96C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3130613"/>
            <a:ext cx="5181600" cy="3549373"/>
          </a:xfrm>
        </p:spPr>
        <p:txBody>
          <a:bodyPr/>
          <a:lstStyle>
            <a:lvl1pPr>
              <a:defRPr>
                <a:solidFill>
                  <a:srgbClr val="59E6FD"/>
                </a:solidFill>
              </a:defRPr>
            </a:lvl1pPr>
            <a:lvl2pPr>
              <a:defRPr>
                <a:solidFill>
                  <a:srgbClr val="59E6FD"/>
                </a:solidFill>
              </a:defRPr>
            </a:lvl2pPr>
            <a:lvl3pPr>
              <a:defRPr>
                <a:solidFill>
                  <a:srgbClr val="59E6FD"/>
                </a:solidFill>
              </a:defRPr>
            </a:lvl3pPr>
            <a:lvl4pPr>
              <a:defRPr>
                <a:solidFill>
                  <a:srgbClr val="59E6FD"/>
                </a:solidFill>
              </a:defRPr>
            </a:lvl4pPr>
            <a:lvl5pPr>
              <a:defRPr>
                <a:solidFill>
                  <a:srgbClr val="59E6F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E9A3D14-A15D-D77A-6A3D-FF8B05F7459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762" y="397776"/>
            <a:ext cx="1328344" cy="284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6273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CDE046-98F8-55B0-3EFB-9C55B7F1EB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3B76ED-9519-3ACA-F184-9AE8940920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CA1234-319D-2F2F-1A9F-2DB3DB22F0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1A91D7A-4B53-A768-57F5-77B9D58352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1CF5654-36C8-AC4A-B4A9-C845EC1E193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04108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C68F1EC-6326-27A3-D587-280E244701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F5E05E-F60F-1192-403A-F9633246EE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D3E8E8F-6B75-6270-D5BC-564450DA77F8}"/>
              </a:ext>
            </a:extLst>
          </p:cNvPr>
          <p:cNvSpPr/>
          <p:nvPr userDrawn="1"/>
        </p:nvSpPr>
        <p:spPr>
          <a:xfrm>
            <a:off x="12393637" y="0"/>
            <a:ext cx="956603" cy="956603"/>
          </a:xfrm>
          <a:prstGeom prst="rect">
            <a:avLst/>
          </a:prstGeom>
          <a:solidFill>
            <a:srgbClr val="0038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#003867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5BE607A-E3D5-42B7-AEDD-B55EAEFD9379}"/>
              </a:ext>
            </a:extLst>
          </p:cNvPr>
          <p:cNvSpPr/>
          <p:nvPr userDrawn="1"/>
        </p:nvSpPr>
        <p:spPr>
          <a:xfrm>
            <a:off x="12393637" y="1111348"/>
            <a:ext cx="956603" cy="956603"/>
          </a:xfrm>
          <a:prstGeom prst="rect">
            <a:avLst/>
          </a:prstGeom>
          <a:solidFill>
            <a:srgbClr val="59E6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r>
              <a:rPr lang="en-US" sz="1200" kern="1200" dirty="0">
                <a:solidFill>
                  <a:srgbClr val="003867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#003867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526F7C-BBD5-26BF-7446-B882004FD004}"/>
              </a:ext>
            </a:extLst>
          </p:cNvPr>
          <p:cNvSpPr/>
          <p:nvPr userDrawn="1"/>
        </p:nvSpPr>
        <p:spPr>
          <a:xfrm>
            <a:off x="12393637" y="2222696"/>
            <a:ext cx="956603" cy="956603"/>
          </a:xfrm>
          <a:prstGeom prst="rect">
            <a:avLst/>
          </a:prstGeom>
          <a:solidFill>
            <a:srgbClr val="4154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r>
              <a:rPr lang="en-US" sz="1200" kern="1200" dirty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#41547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255680-D924-326B-0B53-46580DD93BC8}"/>
              </a:ext>
            </a:extLst>
          </p:cNvPr>
          <p:cNvSpPr/>
          <p:nvPr userDrawn="1"/>
        </p:nvSpPr>
        <p:spPr>
          <a:xfrm>
            <a:off x="12393637" y="3334044"/>
            <a:ext cx="956603" cy="956603"/>
          </a:xfrm>
          <a:prstGeom prst="rect">
            <a:avLst/>
          </a:prstGeom>
          <a:solidFill>
            <a:srgbClr val="137B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r>
              <a:rPr lang="en-US" sz="1200" kern="1200" dirty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#137BD1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2DB6C8-6DC9-B2AE-C36F-D97A5B8DCE62}"/>
              </a:ext>
            </a:extLst>
          </p:cNvPr>
          <p:cNvSpPr/>
          <p:nvPr userDrawn="1"/>
        </p:nvSpPr>
        <p:spPr>
          <a:xfrm>
            <a:off x="12393637" y="4445392"/>
            <a:ext cx="956603" cy="956603"/>
          </a:xfrm>
          <a:prstGeom prst="rect">
            <a:avLst/>
          </a:prstGeom>
          <a:solidFill>
            <a:srgbClr val="28A8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r>
              <a:rPr lang="en-US" sz="1200" kern="1200" dirty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#28A8EA</a:t>
            </a:r>
          </a:p>
        </p:txBody>
      </p:sp>
    </p:spTree>
    <p:extLst>
      <p:ext uri="{BB962C8B-B14F-4D97-AF65-F5344CB8AC3E}">
        <p14:creationId xmlns:p14="http://schemas.microsoft.com/office/powerpoint/2010/main" val="2451026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0" r:id="rId3"/>
    <p:sldLayoutId id="2147483659" r:id="rId4"/>
    <p:sldLayoutId id="2147483651" r:id="rId5"/>
    <p:sldLayoutId id="2147483652" r:id="rId6"/>
    <p:sldLayoutId id="2147483660" r:id="rId7"/>
    <p:sldLayoutId id="2147483657" r:id="rId8"/>
    <p:sldLayoutId id="2147483653" r:id="rId9"/>
    <p:sldLayoutId id="2147483654" r:id="rId10"/>
    <p:sldLayoutId id="2147483655" r:id="rId11"/>
    <p:sldLayoutId id="214748365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3867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03867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003867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03867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3867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3867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aka.ms/ExchangeHealthChecker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://bit.ly/1QMuVLc" TargetMode="External"/><Relationship Id="rId5" Type="http://schemas.openxmlformats.org/officeDocument/2006/relationships/image" Target="../media/image3.png"/><Relationship Id="rId10" Type="http://schemas.openxmlformats.org/officeDocument/2006/relationships/image" Target="../media/image8.jpg"/><Relationship Id="rId4" Type="http://schemas.openxmlformats.org/officeDocument/2006/relationships/image" Target="../media/image2.png"/><Relationship Id="rId9" Type="http://schemas.openxmlformats.org/officeDocument/2006/relationships/hyperlink" Target="https://bit.ly/3qxCI7t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7" Type="http://schemas.openxmlformats.org/officeDocument/2006/relationships/image" Target="../media/image16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emf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7" Type="http://schemas.openxmlformats.org/officeDocument/2006/relationships/image" Target="../media/image16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emf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emf"/><Relationship Id="rId5" Type="http://schemas.openxmlformats.org/officeDocument/2006/relationships/image" Target="../media/image18.emf"/><Relationship Id="rId4" Type="http://schemas.openxmlformats.org/officeDocument/2006/relationships/image" Target="../media/image10.em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hyperlink" Target="https://techcommunity.microsoft.com/t5/exchange-team-blog/disabling-legacy-authentication-in-exchange-server-2019/ba-p/712048?WT.mc_id=M365-MVP-5003086" TargetMode="External"/><Relationship Id="rId3" Type="http://schemas.openxmlformats.org/officeDocument/2006/relationships/hyperlink" Target="https://docs.microsoft.com/exchange/plan-and-deploy/supportability-matrix?view=exchserver-2019&amp;WT.mc_id=M365-MVP-5003086" TargetMode="External"/><Relationship Id="rId7" Type="http://schemas.openxmlformats.org/officeDocument/2006/relationships/hyperlink" Target="https://microsoft.github.io/CSS-Exchange?WT.mc_id=M365-MVP-5003086" TargetMode="Externa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docs.microsoft.com/exchange/architecture/client-access/kerberos-auth-for-load-balanced-client-access?view=exchserver-2019&amp;WT.mc_id=M365-MVP-5003086" TargetMode="External"/><Relationship Id="rId5" Type="http://schemas.openxmlformats.org/officeDocument/2006/relationships/hyperlink" Target="https://assistants.microsoft.com/wizard/exchangedeployment" TargetMode="External"/><Relationship Id="rId10" Type="http://schemas.openxmlformats.org/officeDocument/2006/relationships/hyperlink" Target="https://docs.microsoft.com/certifications/exams/ms-203" TargetMode="External"/><Relationship Id="rId4" Type="http://schemas.openxmlformats.org/officeDocument/2006/relationships/hyperlink" Target="https://aka.ms/ExchangeHealthChecker" TargetMode="External"/><Relationship Id="rId9" Type="http://schemas.openxmlformats.org/officeDocument/2006/relationships/hyperlink" Target="https://techcommunity.microsoft.com/t5/exchange-team-blog/bg-p/Exchange?WT.mc_id=M365-MVP-5003086" TargetMode="Externa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hyperlink" Target="https://bit.ly/3qxCI7t" TargetMode="External"/><Relationship Id="rId3" Type="http://schemas.openxmlformats.org/officeDocument/2006/relationships/image" Target="../media/image20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.png"/><Relationship Id="rId5" Type="http://schemas.openxmlformats.org/officeDocument/2006/relationships/hyperlink" Target="http://bit.ly/1QMuVLc" TargetMode="External"/><Relationship Id="rId10" Type="http://schemas.openxmlformats.org/officeDocument/2006/relationships/hyperlink" Target="https://aka.ms/MECAIR204Survey" TargetMode="External"/><Relationship Id="rId4" Type="http://schemas.openxmlformats.org/officeDocument/2006/relationships/image" Target="../media/image3.png"/><Relationship Id="rId9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3B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8BF18B4-FE01-6150-D75E-B882CF1876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8200EFD-835C-6241-2747-FD2CD9CE3E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0366" y="5141751"/>
            <a:ext cx="1718517" cy="1565273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D61A3FC1-C5E5-EB91-BEDA-7F688D8093D4}"/>
              </a:ext>
            </a:extLst>
          </p:cNvPr>
          <p:cNvSpPr/>
          <p:nvPr/>
        </p:nvSpPr>
        <p:spPr>
          <a:xfrm>
            <a:off x="531386" y="2280114"/>
            <a:ext cx="8405766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rgbClr val="59E6FD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Microsoft Exchange Community (MEC)</a:t>
            </a:r>
            <a:r>
              <a:rPr lang="en-US" sz="32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 </a:t>
            </a:r>
          </a:p>
          <a:p>
            <a:r>
              <a:rPr lang="en-US" sz="72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Technical Airlif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4979371-FA6A-0B37-EE4A-972D056C65E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063" y="796232"/>
            <a:ext cx="1697881" cy="363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5759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30471A-DBA9-DA7F-E315-596A99F2774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66483" y="2084571"/>
            <a:ext cx="9215437" cy="2387600"/>
          </a:xfrm>
        </p:spPr>
        <p:txBody>
          <a:bodyPr/>
          <a:lstStyle/>
          <a:p>
            <a:r>
              <a:rPr lang="en-US" dirty="0"/>
              <a:t>Basics and Prerequisit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3B3D8E-0E41-9A95-471C-B34221FD7A7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6800" y="1180014"/>
            <a:ext cx="8788400" cy="778827"/>
          </a:xfrm>
        </p:spPr>
        <p:txBody>
          <a:bodyPr/>
          <a:lstStyle/>
          <a:p>
            <a:r>
              <a:rPr lang="en-US" dirty="0"/>
              <a:t>How do you upgrade?</a:t>
            </a:r>
          </a:p>
        </p:txBody>
      </p:sp>
    </p:spTree>
    <p:extLst>
      <p:ext uri="{BB962C8B-B14F-4D97-AF65-F5344CB8AC3E}">
        <p14:creationId xmlns:p14="http://schemas.microsoft.com/office/powerpoint/2010/main" val="20753551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6B0AC2-B025-A989-29BA-1470A02C5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A260745-9B2D-414D-56A1-E59273CA80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3725" y="3176749"/>
            <a:ext cx="9686176" cy="3096410"/>
          </a:xfrm>
        </p:spPr>
        <p:txBody>
          <a:bodyPr>
            <a:normAutofit lnSpcReduction="10000"/>
          </a:bodyPr>
          <a:lstStyle/>
          <a:p>
            <a:r>
              <a:rPr lang="en-US" dirty="0"/>
              <a:t>Use Exchange Server Deployment Assistant for standard deployments</a:t>
            </a:r>
          </a:p>
          <a:p>
            <a:r>
              <a:rPr lang="en-US" dirty="0"/>
              <a:t>Use Exchange Sizing Calculator for planning</a:t>
            </a:r>
          </a:p>
          <a:p>
            <a:pPr lvl="1"/>
            <a:r>
              <a:rPr lang="en-US" dirty="0"/>
              <a:t>Located in Exchange 2019 ISO file</a:t>
            </a:r>
          </a:p>
          <a:p>
            <a:r>
              <a:rPr lang="en-US" dirty="0"/>
              <a:t>Prepare on-premises Active Directory forest and domains</a:t>
            </a:r>
          </a:p>
          <a:p>
            <a:pPr lvl="1"/>
            <a:r>
              <a:rPr lang="en-US" dirty="0"/>
              <a:t>DFL/FFL Windows Server 2012R2 or higher</a:t>
            </a:r>
          </a:p>
          <a:p>
            <a:pPr lvl="1"/>
            <a:r>
              <a:rPr lang="en-US" dirty="0"/>
              <a:t>AD Global Catalogue in each Active Directory site hosting an </a:t>
            </a:r>
            <a:br>
              <a:rPr lang="en-US" dirty="0"/>
            </a:br>
            <a:r>
              <a:rPr lang="en-US" dirty="0"/>
              <a:t>Exchange Server 2019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9605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6B0AC2-B025-A989-29BA-1470A02C5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A260745-9B2D-414D-56A1-E59273CA80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3725" y="3176749"/>
            <a:ext cx="10515600" cy="3096410"/>
          </a:xfrm>
        </p:spPr>
        <p:txBody>
          <a:bodyPr/>
          <a:lstStyle/>
          <a:p>
            <a:r>
              <a:rPr lang="en-US" dirty="0"/>
              <a:t>Coexistence with Exchange Server 2010 or before not possible</a:t>
            </a:r>
          </a:p>
          <a:p>
            <a:pPr lvl="1"/>
            <a:r>
              <a:rPr lang="en-US" dirty="0"/>
              <a:t>Exchange 2010 end of support – October 13</a:t>
            </a:r>
            <a:r>
              <a:rPr lang="en-US" baseline="30000" dirty="0"/>
              <a:t>th</a:t>
            </a:r>
            <a:r>
              <a:rPr lang="en-US" dirty="0"/>
              <a:t> 2020</a:t>
            </a:r>
          </a:p>
          <a:p>
            <a:r>
              <a:rPr lang="en-US" dirty="0"/>
              <a:t>Remove all Exchange Server 2010 servers prior to Exchange Server 2019 setup</a:t>
            </a:r>
          </a:p>
          <a:p>
            <a:pPr lvl="1"/>
            <a:r>
              <a:rPr lang="en-US" dirty="0"/>
              <a:t>Including Edge Transport Servers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87992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6B0AC2-B025-A989-29BA-1470A02C5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A260745-9B2D-414D-56A1-E59273CA80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5150" y="3186274"/>
            <a:ext cx="10515600" cy="3096410"/>
          </a:xfrm>
        </p:spPr>
        <p:txBody>
          <a:bodyPr/>
          <a:lstStyle/>
          <a:p>
            <a:r>
              <a:rPr lang="en-US" dirty="0"/>
              <a:t>Upgrade existing Exchange Servers to most recent Exchange Server 2013 or 2016 cumulative update</a:t>
            </a:r>
          </a:p>
          <a:p>
            <a:pPr lvl="1"/>
            <a:r>
              <a:rPr lang="en-US" dirty="0"/>
              <a:t>Do not forget Edge Transport Servers</a:t>
            </a:r>
          </a:p>
          <a:p>
            <a:r>
              <a:rPr lang="en-US" dirty="0"/>
              <a:t>Enable MAPI over HTTP organization-wide</a:t>
            </a:r>
          </a:p>
          <a:p>
            <a:r>
              <a:rPr lang="en-US" dirty="0"/>
              <a:t>Reuse the existing Exchange namespace</a:t>
            </a:r>
          </a:p>
          <a:p>
            <a:pPr lvl="1"/>
            <a:r>
              <a:rPr lang="en-US" dirty="0"/>
              <a:t>E.g., mail.contoso.com + autodiscover.contoso.com</a:t>
            </a:r>
          </a:p>
          <a:p>
            <a:pPr lvl="1"/>
            <a:r>
              <a:rPr lang="en-US" dirty="0"/>
              <a:t>Re-use the existing certificate on Exchange 2019 server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4540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6B0AC2-B025-A989-29BA-1470A02C5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Server 2019 Prerequisite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A260745-9B2D-414D-56A1-E59273CA80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4200" y="3176749"/>
            <a:ext cx="10187878" cy="3096410"/>
          </a:xfrm>
        </p:spPr>
        <p:txBody>
          <a:bodyPr>
            <a:normAutofit lnSpcReduction="10000"/>
          </a:bodyPr>
          <a:lstStyle/>
          <a:p>
            <a:r>
              <a:rPr lang="en-US" dirty="0"/>
              <a:t>Install all prerequisites</a:t>
            </a:r>
          </a:p>
          <a:p>
            <a:pPr lvl="1"/>
            <a:r>
              <a:rPr lang="en-US" dirty="0"/>
              <a:t>.NET Framework 4.8</a:t>
            </a:r>
          </a:p>
          <a:p>
            <a:pPr lvl="1"/>
            <a:r>
              <a:rPr lang="en-US" dirty="0"/>
              <a:t>Visual C++ Redistributable Packages for Visual Studio 2012 / 2013</a:t>
            </a:r>
          </a:p>
          <a:p>
            <a:pPr lvl="1"/>
            <a:r>
              <a:rPr lang="en-US" dirty="0"/>
              <a:t>Unified Communications Managed API (UCMA) 4.0 </a:t>
            </a:r>
            <a:br>
              <a:rPr lang="en-US" dirty="0"/>
            </a:b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from Exchange Server ISO file</a:t>
            </a:r>
          </a:p>
          <a:p>
            <a:pPr lvl="1"/>
            <a:r>
              <a:rPr lang="en-US" dirty="0"/>
              <a:t>IIS URL-Redirect Module</a:t>
            </a:r>
            <a:br>
              <a:rPr lang="en-US" dirty="0"/>
            </a:b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Use manual download option, do not install IIS Web Platform Installer on Exchange Server</a:t>
            </a:r>
            <a:br>
              <a:rPr lang="en-US" dirty="0"/>
            </a:b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9620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30471A-DBA9-DA7F-E315-596A99F2774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66483" y="2084571"/>
            <a:ext cx="9215437" cy="2387600"/>
          </a:xfrm>
        </p:spPr>
        <p:txBody>
          <a:bodyPr/>
          <a:lstStyle/>
          <a:p>
            <a:r>
              <a:rPr lang="en-US" dirty="0"/>
              <a:t>Installation and Configur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3B3D8E-0E41-9A95-471C-B34221FD7A7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6800" y="1180014"/>
            <a:ext cx="8788400" cy="778827"/>
          </a:xfrm>
        </p:spPr>
        <p:txBody>
          <a:bodyPr/>
          <a:lstStyle/>
          <a:p>
            <a:r>
              <a:rPr lang="en-US" dirty="0"/>
              <a:t>How do you upgrade?</a:t>
            </a:r>
          </a:p>
        </p:txBody>
      </p:sp>
    </p:spTree>
    <p:extLst>
      <p:ext uri="{BB962C8B-B14F-4D97-AF65-F5344CB8AC3E}">
        <p14:creationId xmlns:p14="http://schemas.microsoft.com/office/powerpoint/2010/main" val="38609827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6B0AC2-B025-A989-29BA-1470A02C5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all Exchange Server 2019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A260745-9B2D-414D-56A1-E59273CA80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4200" y="3176749"/>
            <a:ext cx="9814970" cy="3096410"/>
          </a:xfrm>
        </p:spPr>
        <p:txBody>
          <a:bodyPr>
            <a:normAutofit fontScale="92500"/>
          </a:bodyPr>
          <a:lstStyle/>
          <a:p>
            <a:r>
              <a:rPr lang="en-US" dirty="0"/>
              <a:t>Prepare AD schema, AD forest, and the AD domains </a:t>
            </a:r>
          </a:p>
          <a:p>
            <a:r>
              <a:rPr lang="en-US" dirty="0"/>
              <a:t>Install Exchange Server 2019</a:t>
            </a:r>
          </a:p>
          <a:p>
            <a:r>
              <a:rPr lang="en-US" dirty="0"/>
              <a:t>Import certificate and assign Exchange Services</a:t>
            </a:r>
          </a:p>
          <a:p>
            <a:r>
              <a:rPr lang="en-US" dirty="0"/>
              <a:t>Check server configuration with HealthChecker PowerShell script</a:t>
            </a:r>
          </a:p>
          <a:p>
            <a:pPr lvl="1"/>
            <a:r>
              <a:rPr lang="en-US" dirty="0"/>
              <a:t>Available at </a:t>
            </a:r>
            <a:r>
              <a:rPr lang="fr-FR" dirty="0"/>
              <a:t>Microsoft Exchange Server Support Scripts GitHub repository</a:t>
            </a:r>
          </a:p>
          <a:p>
            <a:pPr lvl="1"/>
            <a:r>
              <a:rPr lang="fr-FR" dirty="0">
                <a:hlinkClick r:id="rId3"/>
              </a:rPr>
              <a:t>https://aka.ms/ExchangeHealthChecker</a:t>
            </a:r>
            <a:r>
              <a:rPr lang="fr-FR" dirty="0"/>
              <a:t> 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6117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E42EDA-D058-5E3F-2691-1F27402CC0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1716249"/>
            <a:ext cx="7651839" cy="1325563"/>
          </a:xfrm>
        </p:spPr>
        <p:txBody>
          <a:bodyPr/>
          <a:lstStyle/>
          <a:p>
            <a:r>
              <a:rPr lang="en-US"/>
              <a:t>DAG Coexistence Exchange 2016 + 2019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FB7E5F-62A2-9709-44E6-8ED9C22835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4200" y="3176749"/>
            <a:ext cx="7651839" cy="309641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Not supported </a:t>
            </a:r>
          </a:p>
          <a:p>
            <a:r>
              <a:rPr lang="en-US" dirty="0">
                <a:latin typeface="Segoe UI"/>
                <a:cs typeface="Segoe UI"/>
              </a:rPr>
              <a:t>New DAG Name = New DB Names</a:t>
            </a:r>
            <a:endParaRPr lang="en-US" dirty="0"/>
          </a:p>
          <a:p>
            <a:endParaRPr lang="en-US" dirty="0"/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C73F57A6-0D9A-90F2-4B70-586BCF5E6AA8}"/>
              </a:ext>
            </a:extLst>
          </p:cNvPr>
          <p:cNvSpPr/>
          <p:nvPr/>
        </p:nvSpPr>
        <p:spPr>
          <a:xfrm>
            <a:off x="6820265" y="2255074"/>
            <a:ext cx="3073429" cy="2789216"/>
          </a:xfrm>
          <a:prstGeom prst="ellipse">
            <a:avLst/>
          </a:prstGeom>
          <a:noFill/>
          <a:ln w="38100">
            <a:solidFill>
              <a:srgbClr val="137BD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1A6AFF8B-BB0B-419C-E9DC-BB61CB84A61E}"/>
              </a:ext>
            </a:extLst>
          </p:cNvPr>
          <p:cNvSpPr/>
          <p:nvPr/>
        </p:nvSpPr>
        <p:spPr>
          <a:xfrm>
            <a:off x="6820265" y="3957978"/>
            <a:ext cx="3073429" cy="2789216"/>
          </a:xfrm>
          <a:prstGeom prst="ellipse">
            <a:avLst/>
          </a:prstGeom>
          <a:noFill/>
          <a:ln w="38100">
            <a:solidFill>
              <a:srgbClr val="59E6FD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49AA825-463E-3BA0-9D1E-410ED4731E0A}"/>
              </a:ext>
            </a:extLst>
          </p:cNvPr>
          <p:cNvSpPr txBox="1"/>
          <p:nvPr/>
        </p:nvSpPr>
        <p:spPr>
          <a:xfrm>
            <a:off x="7395469" y="5583115"/>
            <a:ext cx="19230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Exchange 2019</a:t>
            </a:r>
            <a:br>
              <a:rPr lang="en-US" dirty="0"/>
            </a:br>
            <a:r>
              <a:rPr lang="en-US" dirty="0"/>
              <a:t>DAG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B835BC5-F552-61AF-ABB5-642226F4CE2C}"/>
              </a:ext>
            </a:extLst>
          </p:cNvPr>
          <p:cNvSpPr txBox="1"/>
          <p:nvPr/>
        </p:nvSpPr>
        <p:spPr>
          <a:xfrm>
            <a:off x="7395469" y="3126558"/>
            <a:ext cx="19230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Exchange 2016</a:t>
            </a:r>
            <a:br>
              <a:rPr lang="en-US" dirty="0"/>
            </a:br>
            <a:r>
              <a:rPr lang="en-US" dirty="0"/>
              <a:t>DAG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ED871452-B14F-7E5B-268B-552A5D3C30B6}"/>
              </a:ext>
            </a:extLst>
          </p:cNvPr>
          <p:cNvSpPr txBox="1"/>
          <p:nvPr/>
        </p:nvSpPr>
        <p:spPr>
          <a:xfrm>
            <a:off x="7395469" y="4311714"/>
            <a:ext cx="19230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NOT SUPPORTED</a:t>
            </a:r>
          </a:p>
        </p:txBody>
      </p:sp>
    </p:spTree>
    <p:extLst>
      <p:ext uri="{BB962C8B-B14F-4D97-AF65-F5344CB8AC3E}">
        <p14:creationId xmlns:p14="http://schemas.microsoft.com/office/powerpoint/2010/main" val="30588601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6B0AC2-B025-A989-29BA-1470A02C5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e Exchange Server 2019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A260745-9B2D-414D-56A1-E59273CA80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reate a new DAG and add new member servers</a:t>
            </a:r>
          </a:p>
          <a:p>
            <a:r>
              <a:rPr lang="en-US" dirty="0"/>
              <a:t>Configure internal and external URLs of virtual directories</a:t>
            </a:r>
          </a:p>
          <a:p>
            <a:r>
              <a:rPr lang="en-US" dirty="0"/>
              <a:t>Create new mailbox databases and database copies</a:t>
            </a:r>
          </a:p>
          <a:p>
            <a:r>
              <a:rPr lang="en-US" dirty="0"/>
              <a:t>Verify database replication </a:t>
            </a:r>
          </a:p>
        </p:txBody>
      </p:sp>
    </p:spTree>
    <p:extLst>
      <p:ext uri="{BB962C8B-B14F-4D97-AF65-F5344CB8AC3E}">
        <p14:creationId xmlns:p14="http://schemas.microsoft.com/office/powerpoint/2010/main" val="29396330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6B0AC2-B025-A989-29BA-1470A02C5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e Exchange Server 2019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A260745-9B2D-414D-56A1-E59273CA80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3725" y="3176749"/>
            <a:ext cx="10515600" cy="3096410"/>
          </a:xfrm>
        </p:spPr>
        <p:txBody>
          <a:bodyPr/>
          <a:lstStyle/>
          <a:p>
            <a:r>
              <a:rPr lang="en-US" dirty="0"/>
              <a:t>Add Exchange 2019 Servers to load balancing pool</a:t>
            </a:r>
          </a:p>
          <a:p>
            <a:pPr lvl="1"/>
            <a:r>
              <a:rPr lang="en-US" dirty="0"/>
              <a:t>Exchange Server 2019 Frontend proxies to 2016 Backend </a:t>
            </a:r>
          </a:p>
          <a:p>
            <a:pPr marL="457200" lvl="1" indent="0">
              <a:buNone/>
            </a:pPr>
            <a:r>
              <a:rPr lang="en-US" dirty="0">
                <a:sym typeface="Wingdings" panose="05000000000000000000" pitchFamily="2" charset="2"/>
              </a:rPr>
              <a:t> Down-Proxy</a:t>
            </a:r>
            <a:endParaRPr lang="en-US" dirty="0"/>
          </a:p>
          <a:p>
            <a:pPr lvl="1"/>
            <a:r>
              <a:rPr lang="en-US" dirty="0"/>
              <a:t>Exchange Server 2016 Frontend proxies to 2019 Backend</a:t>
            </a:r>
          </a:p>
          <a:p>
            <a:pPr marL="457200" lvl="1" indent="0">
              <a:buNone/>
            </a:pPr>
            <a:r>
              <a:rPr lang="en-US" dirty="0">
                <a:sym typeface="Wingdings" panose="05000000000000000000" pitchFamily="2" charset="2"/>
              </a:rPr>
              <a:t> Up-Proxy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7184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3B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8BF18B4-FE01-6150-D75E-B882CF1876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8200EFD-835C-6241-2747-FD2CD9CE3E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0366" y="5141751"/>
            <a:ext cx="1718517" cy="1565273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8FA1068C-23B7-33A8-C067-C92777069DAE}"/>
              </a:ext>
            </a:extLst>
          </p:cNvPr>
          <p:cNvSpPr/>
          <p:nvPr/>
        </p:nvSpPr>
        <p:spPr>
          <a:xfrm>
            <a:off x="653402" y="2598003"/>
            <a:ext cx="1038379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pgrade to Exchange Server 2019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76C205C-E399-B8FD-5A38-5E63E823C5C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063" y="796232"/>
            <a:ext cx="1697881" cy="363982"/>
          </a:xfrm>
          <a:prstGeom prst="rect">
            <a:avLst/>
          </a:prstGeom>
        </p:spPr>
      </p:pic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A5ECA792-CCE5-47DC-B5B2-8641D33CC02A}"/>
              </a:ext>
            </a:extLst>
          </p:cNvPr>
          <p:cNvGrpSpPr/>
          <p:nvPr/>
        </p:nvGrpSpPr>
        <p:grpSpPr>
          <a:xfrm>
            <a:off x="215712" y="4274973"/>
            <a:ext cx="5083834" cy="2292935"/>
            <a:chOff x="740720" y="4134334"/>
            <a:chExt cx="5083834" cy="2292935"/>
          </a:xfrm>
        </p:grpSpPr>
        <p:sp>
          <p:nvSpPr>
            <p:cNvPr id="6" name="Rechteck 9">
              <a:extLst>
                <a:ext uri="{FF2B5EF4-FFF2-40B4-BE49-F238E27FC236}">
                  <a16:creationId xmlns:a16="http://schemas.microsoft.com/office/drawing/2014/main" id="{A946038A-7C42-FEAA-9AB9-AA83CB43A391}"/>
                </a:ext>
              </a:extLst>
            </p:cNvPr>
            <p:cNvSpPr/>
            <p:nvPr/>
          </p:nvSpPr>
          <p:spPr>
            <a:xfrm>
              <a:off x="740720" y="4134334"/>
              <a:ext cx="5083834" cy="2292935"/>
            </a:xfrm>
            <a:prstGeom prst="rect">
              <a:avLst/>
            </a:prstGeom>
            <a:solidFill>
              <a:srgbClr val="253B5D"/>
            </a:solidFill>
            <a:effectLst>
              <a:glow rad="228600">
                <a:schemeClr val="accent5">
                  <a:satMod val="175000"/>
                  <a:alpha val="40000"/>
                </a:schemeClr>
              </a:glo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3" defTabSz="932597"/>
              <a:r>
                <a:rPr lang="en-US" sz="2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</a:t>
              </a:r>
              <a:endParaRPr lang="en-US" sz="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3" defTabSz="932597"/>
              <a:r>
                <a:rPr lang="en-US" sz="2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Siegfried Jagott</a:t>
              </a:r>
            </a:p>
            <a:p>
              <a:pPr lvl="3" defTabSz="932597"/>
              <a:r>
                <a:rPr lang="en-US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MVP M365 Apps &amp; Services</a:t>
              </a:r>
            </a:p>
            <a:p>
              <a:pPr lvl="3" defTabSz="932597"/>
              <a:r>
                <a:rPr lang="en-US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       CEO @      </a:t>
              </a:r>
            </a:p>
            <a:p>
              <a:pPr defTabSz="932597"/>
              <a:r>
                <a:rPr lang="en-US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	</a:t>
              </a:r>
              <a:r>
                <a:rPr lang="en-US" sz="1500" b="1" dirty="0">
                  <a:solidFill>
                    <a:schemeClr val="bg1"/>
                  </a:solidFill>
                  <a:latin typeface="Segoe UI Light"/>
                </a:rPr>
                <a:t>siegfried.jagott@intellity.net</a:t>
              </a:r>
            </a:p>
            <a:p>
              <a:pPr defTabSz="932597"/>
              <a:r>
                <a:rPr lang="en-US" sz="1500" b="1" dirty="0">
                  <a:solidFill>
                    <a:schemeClr val="bg1"/>
                  </a:solidFill>
                  <a:latin typeface="Segoe UI Light"/>
                </a:rPr>
                <a:t>		Twitter: @SigiJ</a:t>
              </a:r>
            </a:p>
            <a:p>
              <a:pPr defTabSz="932597"/>
              <a:r>
                <a:rPr lang="en-US" sz="1500" b="1" dirty="0">
                  <a:solidFill>
                    <a:schemeClr val="bg1"/>
                  </a:solidFill>
                  <a:latin typeface="Segoe UI Light"/>
                </a:rPr>
                <a:t>		MVP: </a:t>
              </a:r>
              <a:r>
                <a:rPr lang="en-US" sz="1500" b="1" dirty="0">
                  <a:solidFill>
                    <a:schemeClr val="bg1"/>
                  </a:solidFill>
                  <a:latin typeface="Segoe UI Light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://bit.ly/1QMuVLc</a:t>
              </a:r>
              <a:endParaRPr lang="en-US" sz="1500" b="1" dirty="0">
                <a:solidFill>
                  <a:schemeClr val="bg1"/>
                </a:solidFill>
                <a:latin typeface="Segoe UI Light"/>
              </a:endParaRPr>
            </a:p>
            <a:p>
              <a:pPr defTabSz="932597"/>
              <a:endParaRPr lang="en-US" sz="11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2F195D47-2EFA-7A40-98F2-CC75042AE7A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45981" y="4397028"/>
              <a:ext cx="1348618" cy="1675214"/>
            </a:xfrm>
            <a:prstGeom prst="rect">
              <a:avLst/>
            </a:prstGeom>
            <a:solidFill>
              <a:srgbClr val="253B5D"/>
            </a:solidFill>
            <a:effectLst>
              <a:glow rad="228600">
                <a:schemeClr val="accent5">
                  <a:satMod val="175000"/>
                  <a:alpha val="40000"/>
                </a:schemeClr>
              </a:glow>
            </a:effectLst>
          </p:spPr>
        </p:pic>
        <p:pic>
          <p:nvPicPr>
            <p:cNvPr id="9" name="Picture 8" descr="Text&#10;&#10;Description automatically generated with medium confidence">
              <a:extLst>
                <a:ext uri="{FF2B5EF4-FFF2-40B4-BE49-F238E27FC236}">
                  <a16:creationId xmlns:a16="http://schemas.microsoft.com/office/drawing/2014/main" id="{C7DF8C6E-443B-C398-BC45-2313EE7E6F5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0583" y="5115086"/>
              <a:ext cx="1417986" cy="439548"/>
            </a:xfrm>
            <a:prstGeom prst="rect">
              <a:avLst/>
            </a:prstGeom>
          </p:spPr>
        </p:pic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D85D25DA-E9C2-E221-DC5E-CB36F74A1C61}"/>
              </a:ext>
            </a:extLst>
          </p:cNvPr>
          <p:cNvGrpSpPr/>
          <p:nvPr/>
        </p:nvGrpSpPr>
        <p:grpSpPr>
          <a:xfrm>
            <a:off x="5710133" y="4274973"/>
            <a:ext cx="5083834" cy="2292935"/>
            <a:chOff x="740720" y="4134334"/>
            <a:chExt cx="5083834" cy="2292935"/>
          </a:xfrm>
        </p:grpSpPr>
        <p:sp>
          <p:nvSpPr>
            <p:cNvPr id="12" name="Rechteck 9">
              <a:extLst>
                <a:ext uri="{FF2B5EF4-FFF2-40B4-BE49-F238E27FC236}">
                  <a16:creationId xmlns:a16="http://schemas.microsoft.com/office/drawing/2014/main" id="{CE4C7053-3762-E4B6-467B-C1EEC91ADE67}"/>
                </a:ext>
              </a:extLst>
            </p:cNvPr>
            <p:cNvSpPr/>
            <p:nvPr/>
          </p:nvSpPr>
          <p:spPr>
            <a:xfrm>
              <a:off x="740720" y="4134334"/>
              <a:ext cx="5083834" cy="2292935"/>
            </a:xfrm>
            <a:prstGeom prst="rect">
              <a:avLst/>
            </a:prstGeom>
            <a:solidFill>
              <a:srgbClr val="253B5D"/>
            </a:solidFill>
            <a:effectLst>
              <a:glow rad="228600">
                <a:schemeClr val="accent5">
                  <a:satMod val="175000"/>
                  <a:alpha val="40000"/>
                </a:schemeClr>
              </a:glo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3" defTabSz="932597"/>
              <a:r>
                <a:rPr lang="en-US" sz="2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</a:t>
              </a:r>
              <a:endParaRPr lang="en-US" sz="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3" defTabSz="932597"/>
              <a:r>
                <a:rPr lang="en-US" sz="2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Thomas Stensitzki</a:t>
              </a:r>
            </a:p>
            <a:p>
              <a:pPr lvl="3" defTabSz="932597"/>
              <a:r>
                <a:rPr lang="en-US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MVP M365 Apps &amp; Services</a:t>
              </a:r>
            </a:p>
            <a:p>
              <a:pPr lvl="3" defTabSz="932597"/>
              <a:r>
                <a:rPr lang="en-US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       CEO @ GRANIKOS</a:t>
              </a:r>
            </a:p>
            <a:p>
              <a:pPr defTabSz="932597"/>
              <a:r>
                <a:rPr lang="en-US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	</a:t>
              </a:r>
              <a:r>
                <a:rPr lang="en-US" sz="1500" b="1" dirty="0">
                  <a:solidFill>
                    <a:schemeClr val="bg1"/>
                  </a:solidFill>
                  <a:latin typeface="Segoe UI Light"/>
                </a:rPr>
                <a:t>Thomas.Stensitzki@Granikos.eu</a:t>
              </a:r>
            </a:p>
            <a:p>
              <a:pPr defTabSz="932597"/>
              <a:r>
                <a:rPr lang="en-US" sz="1500" b="1" dirty="0">
                  <a:solidFill>
                    <a:schemeClr val="bg1"/>
                  </a:solidFill>
                  <a:latin typeface="Segoe UI Light"/>
                </a:rPr>
                <a:t>		Twitter: @Stensitzki</a:t>
              </a:r>
            </a:p>
            <a:p>
              <a:pPr defTabSz="932597"/>
              <a:r>
                <a:rPr lang="en-US" sz="1500" b="1" dirty="0">
                  <a:solidFill>
                    <a:schemeClr val="bg1"/>
                  </a:solidFill>
                  <a:latin typeface="Segoe UI Light"/>
                </a:rPr>
                <a:t>		MVP: </a:t>
              </a:r>
              <a:r>
                <a:rPr lang="en-US" sz="1500" b="1" dirty="0">
                  <a:solidFill>
                    <a:schemeClr val="bg1"/>
                  </a:solidFill>
                  <a:latin typeface="Segoe UI Light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it.ly/3qxCI7t</a:t>
              </a:r>
              <a:r>
                <a:rPr lang="en-US" sz="1500" b="1" dirty="0">
                  <a:solidFill>
                    <a:schemeClr val="bg1"/>
                  </a:solidFill>
                  <a:latin typeface="Segoe UI Light"/>
                </a:rPr>
                <a:t> </a:t>
              </a:r>
            </a:p>
            <a:p>
              <a:pPr defTabSz="932597"/>
              <a:endParaRPr lang="en-US" sz="11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8D752618-46E5-4292-B0DC-353896049B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47910" y="4380194"/>
              <a:ext cx="1348618" cy="1348618"/>
            </a:xfrm>
            <a:prstGeom prst="rect">
              <a:avLst/>
            </a:prstGeom>
            <a:solidFill>
              <a:srgbClr val="253B5D"/>
            </a:solidFill>
            <a:effectLst>
              <a:glow rad="228600">
                <a:schemeClr val="accent5">
                  <a:satMod val="175000"/>
                  <a:alpha val="40000"/>
                </a:schemeClr>
              </a:glow>
            </a:effectLst>
          </p:spPr>
        </p:pic>
      </p:grpSp>
    </p:spTree>
    <p:extLst>
      <p:ext uri="{BB962C8B-B14F-4D97-AF65-F5344CB8AC3E}">
        <p14:creationId xmlns:p14="http://schemas.microsoft.com/office/powerpoint/2010/main" val="292464277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F8DFDE0-6F89-8C9E-7EC3-468429654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Server – Up-Proxy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6319416-B0FA-C7A4-7C67-C4AE391E4749}"/>
              </a:ext>
            </a:extLst>
          </p:cNvPr>
          <p:cNvSpPr/>
          <p:nvPr/>
        </p:nvSpPr>
        <p:spPr>
          <a:xfrm>
            <a:off x="1981760" y="2779058"/>
            <a:ext cx="8891587" cy="408892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ad Balancer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E3EE67E-E6A5-367D-4EFE-E8CC39AE87E6}"/>
              </a:ext>
            </a:extLst>
          </p:cNvPr>
          <p:cNvSpPr/>
          <p:nvPr/>
        </p:nvSpPr>
        <p:spPr>
          <a:xfrm>
            <a:off x="2191310" y="3774079"/>
            <a:ext cx="1571625" cy="40889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Frontend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97EB2A9-7695-1746-2429-7FB16842EE1B}"/>
              </a:ext>
            </a:extLst>
          </p:cNvPr>
          <p:cNvSpPr/>
          <p:nvPr/>
        </p:nvSpPr>
        <p:spPr>
          <a:xfrm>
            <a:off x="4493185" y="3774079"/>
            <a:ext cx="1571625" cy="40889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Frontend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DA49B73-7CBF-E0C1-023A-B883E96DB529}"/>
              </a:ext>
            </a:extLst>
          </p:cNvPr>
          <p:cNvSpPr/>
          <p:nvPr/>
        </p:nvSpPr>
        <p:spPr>
          <a:xfrm>
            <a:off x="6795060" y="3774079"/>
            <a:ext cx="1571625" cy="40889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Frontend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DE1A266-02A4-43D5-C2B1-7B8C13C4751D}"/>
              </a:ext>
            </a:extLst>
          </p:cNvPr>
          <p:cNvSpPr/>
          <p:nvPr/>
        </p:nvSpPr>
        <p:spPr>
          <a:xfrm>
            <a:off x="9096935" y="3774079"/>
            <a:ext cx="1571625" cy="40889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Frontend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8380A5D-65B8-35DC-473E-7FB01CCC02C7}"/>
              </a:ext>
            </a:extLst>
          </p:cNvPr>
          <p:cNvSpPr/>
          <p:nvPr/>
        </p:nvSpPr>
        <p:spPr>
          <a:xfrm>
            <a:off x="2191310" y="4564654"/>
            <a:ext cx="1571625" cy="40889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Backe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8107476-8B87-E74F-28BB-CD68030187F1}"/>
              </a:ext>
            </a:extLst>
          </p:cNvPr>
          <p:cNvSpPr/>
          <p:nvPr/>
        </p:nvSpPr>
        <p:spPr>
          <a:xfrm>
            <a:off x="4493185" y="4564654"/>
            <a:ext cx="1571625" cy="40889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Backe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4F8026D-46D3-0546-C07C-BA4A346C4029}"/>
              </a:ext>
            </a:extLst>
          </p:cNvPr>
          <p:cNvSpPr/>
          <p:nvPr/>
        </p:nvSpPr>
        <p:spPr>
          <a:xfrm>
            <a:off x="6795060" y="4564654"/>
            <a:ext cx="1571625" cy="40889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Backen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5C71AB2-38B8-AD9B-FBE4-912F74C6D23E}"/>
              </a:ext>
            </a:extLst>
          </p:cNvPr>
          <p:cNvSpPr/>
          <p:nvPr/>
        </p:nvSpPr>
        <p:spPr>
          <a:xfrm>
            <a:off x="9096935" y="4564654"/>
            <a:ext cx="1571625" cy="40889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Backend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A855354-5A9D-CA7A-DAE9-7B548084FE86}"/>
              </a:ext>
            </a:extLst>
          </p:cNvPr>
          <p:cNvSpPr/>
          <p:nvPr/>
        </p:nvSpPr>
        <p:spPr>
          <a:xfrm>
            <a:off x="1981760" y="3560107"/>
            <a:ext cx="1981200" cy="2981325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b"/>
          <a:lstStyle/>
          <a:p>
            <a:r>
              <a:rPr lang="en-US" sz="1200" dirty="0"/>
              <a:t>Exchange 2016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DE8CC02-B009-E29D-74C2-9006830DDD78}"/>
              </a:ext>
            </a:extLst>
          </p:cNvPr>
          <p:cNvSpPr/>
          <p:nvPr/>
        </p:nvSpPr>
        <p:spPr>
          <a:xfrm>
            <a:off x="4288397" y="3560108"/>
            <a:ext cx="1981200" cy="2981325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b"/>
          <a:lstStyle/>
          <a:p>
            <a:r>
              <a:rPr lang="en-US" sz="1200" dirty="0"/>
              <a:t>Exchange 2016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B78D0CB6-8FDE-0DCB-8704-9C3C8AA5204C}"/>
              </a:ext>
            </a:extLst>
          </p:cNvPr>
          <p:cNvSpPr/>
          <p:nvPr/>
        </p:nvSpPr>
        <p:spPr>
          <a:xfrm>
            <a:off x="6590272" y="3560108"/>
            <a:ext cx="1981200" cy="2981325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b"/>
          <a:lstStyle/>
          <a:p>
            <a:r>
              <a:rPr lang="en-US" sz="1200" dirty="0"/>
              <a:t>Exchange 2019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8A1E418-773C-F13E-F819-74091BF61917}"/>
              </a:ext>
            </a:extLst>
          </p:cNvPr>
          <p:cNvSpPr/>
          <p:nvPr/>
        </p:nvSpPr>
        <p:spPr>
          <a:xfrm>
            <a:off x="8892147" y="3560107"/>
            <a:ext cx="1981200" cy="2981325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b"/>
          <a:lstStyle/>
          <a:p>
            <a:r>
              <a:rPr lang="en-US" sz="1200" dirty="0"/>
              <a:t>Exchange 2019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ACABF833-64B4-F3CC-BB34-EDB2794D8A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0422" y="5779432"/>
            <a:ext cx="781050" cy="7620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4006C00E-2618-06D2-7983-F3A22A6EA4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68485" y="5779432"/>
            <a:ext cx="781050" cy="762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76692DE4-4EC5-8042-4F12-588A3A2436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55716" y="5742590"/>
            <a:ext cx="819150" cy="790575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2F3F805F-8861-FD16-EF3D-CBAB96CE83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62353" y="5765144"/>
            <a:ext cx="819150" cy="790575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D44B5B10-DF5D-2152-279E-2DDDD09F419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06072" y="1512162"/>
            <a:ext cx="819150" cy="5334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F65762D6-0419-2AA3-735C-7F51A5F2D11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82722" y="5779432"/>
            <a:ext cx="400050" cy="428625"/>
          </a:xfrm>
          <a:prstGeom prst="rect">
            <a:avLst/>
          </a:prstGeom>
        </p:spPr>
      </p:pic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7C1CB5A-91D5-6A80-5E05-59F4F0FBC4B5}"/>
              </a:ext>
            </a:extLst>
          </p:cNvPr>
          <p:cNvCxnSpPr>
            <a:stCxn id="22" idx="2"/>
            <a:endCxn id="5" idx="0"/>
          </p:cNvCxnSpPr>
          <p:nvPr/>
        </p:nvCxnSpPr>
        <p:spPr>
          <a:xfrm>
            <a:off x="6415647" y="2045562"/>
            <a:ext cx="11907" cy="733496"/>
          </a:xfrm>
          <a:prstGeom prst="straightConnector1">
            <a:avLst/>
          </a:prstGeom>
          <a:ln w="381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31E93058-3135-0883-31A6-CBBB9DE0981B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2977123" y="3187950"/>
            <a:ext cx="3450431" cy="586129"/>
          </a:xfrm>
          <a:prstGeom prst="straightConnector1">
            <a:avLst/>
          </a:prstGeom>
          <a:ln w="381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A9C48F89-785C-BDCF-25C5-15D8C1E47BB2}"/>
              </a:ext>
            </a:extLst>
          </p:cNvPr>
          <p:cNvCxnSpPr>
            <a:cxnSpLocks/>
            <a:stCxn id="6" idx="2"/>
            <a:endCxn id="13" idx="0"/>
          </p:cNvCxnSpPr>
          <p:nvPr/>
        </p:nvCxnSpPr>
        <p:spPr>
          <a:xfrm>
            <a:off x="2977123" y="4182971"/>
            <a:ext cx="6905625" cy="381683"/>
          </a:xfrm>
          <a:prstGeom prst="straightConnector1">
            <a:avLst/>
          </a:prstGeom>
          <a:ln w="381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00575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F8DFDE0-6F89-8C9E-7EC3-468429654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Server – Down-Proxy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6319416-B0FA-C7A4-7C67-C4AE391E4749}"/>
              </a:ext>
            </a:extLst>
          </p:cNvPr>
          <p:cNvSpPr/>
          <p:nvPr/>
        </p:nvSpPr>
        <p:spPr>
          <a:xfrm>
            <a:off x="1981760" y="2779058"/>
            <a:ext cx="8891587" cy="408892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ad Balancer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E3EE67E-E6A5-367D-4EFE-E8CC39AE87E6}"/>
              </a:ext>
            </a:extLst>
          </p:cNvPr>
          <p:cNvSpPr/>
          <p:nvPr/>
        </p:nvSpPr>
        <p:spPr>
          <a:xfrm>
            <a:off x="2191310" y="3774079"/>
            <a:ext cx="1571625" cy="40889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Frontend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97EB2A9-7695-1746-2429-7FB16842EE1B}"/>
              </a:ext>
            </a:extLst>
          </p:cNvPr>
          <p:cNvSpPr/>
          <p:nvPr/>
        </p:nvSpPr>
        <p:spPr>
          <a:xfrm>
            <a:off x="4493185" y="3774079"/>
            <a:ext cx="1571625" cy="40889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Frontend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DA49B73-7CBF-E0C1-023A-B883E96DB529}"/>
              </a:ext>
            </a:extLst>
          </p:cNvPr>
          <p:cNvSpPr/>
          <p:nvPr/>
        </p:nvSpPr>
        <p:spPr>
          <a:xfrm>
            <a:off x="6795060" y="3774079"/>
            <a:ext cx="1571625" cy="40889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Frontend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DE1A266-02A4-43D5-C2B1-7B8C13C4751D}"/>
              </a:ext>
            </a:extLst>
          </p:cNvPr>
          <p:cNvSpPr/>
          <p:nvPr/>
        </p:nvSpPr>
        <p:spPr>
          <a:xfrm>
            <a:off x="9096935" y="3774079"/>
            <a:ext cx="1571625" cy="40889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Frontend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8380A5D-65B8-35DC-473E-7FB01CCC02C7}"/>
              </a:ext>
            </a:extLst>
          </p:cNvPr>
          <p:cNvSpPr/>
          <p:nvPr/>
        </p:nvSpPr>
        <p:spPr>
          <a:xfrm>
            <a:off x="2191310" y="4564654"/>
            <a:ext cx="1571625" cy="40889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Backe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8107476-8B87-E74F-28BB-CD68030187F1}"/>
              </a:ext>
            </a:extLst>
          </p:cNvPr>
          <p:cNvSpPr/>
          <p:nvPr/>
        </p:nvSpPr>
        <p:spPr>
          <a:xfrm>
            <a:off x="4493185" y="4564654"/>
            <a:ext cx="1571625" cy="40889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Backen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4F8026D-46D3-0546-C07C-BA4A346C4029}"/>
              </a:ext>
            </a:extLst>
          </p:cNvPr>
          <p:cNvSpPr/>
          <p:nvPr/>
        </p:nvSpPr>
        <p:spPr>
          <a:xfrm>
            <a:off x="6795060" y="4564654"/>
            <a:ext cx="1571625" cy="40889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Backen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5C71AB2-38B8-AD9B-FBE4-912F74C6D23E}"/>
              </a:ext>
            </a:extLst>
          </p:cNvPr>
          <p:cNvSpPr/>
          <p:nvPr/>
        </p:nvSpPr>
        <p:spPr>
          <a:xfrm>
            <a:off x="9096935" y="4564654"/>
            <a:ext cx="1571625" cy="40889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Backend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A855354-5A9D-CA7A-DAE9-7B548084FE86}"/>
              </a:ext>
            </a:extLst>
          </p:cNvPr>
          <p:cNvSpPr/>
          <p:nvPr/>
        </p:nvSpPr>
        <p:spPr>
          <a:xfrm>
            <a:off x="1981760" y="3560107"/>
            <a:ext cx="1981200" cy="2981325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b"/>
          <a:lstStyle/>
          <a:p>
            <a:r>
              <a:rPr lang="en-US" sz="1200" dirty="0"/>
              <a:t>Exchange 2016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DE8CC02-B009-E29D-74C2-9006830DDD78}"/>
              </a:ext>
            </a:extLst>
          </p:cNvPr>
          <p:cNvSpPr/>
          <p:nvPr/>
        </p:nvSpPr>
        <p:spPr>
          <a:xfrm>
            <a:off x="4288397" y="3560108"/>
            <a:ext cx="1981200" cy="2981325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b"/>
          <a:lstStyle/>
          <a:p>
            <a:r>
              <a:rPr lang="en-US" sz="1200" dirty="0"/>
              <a:t>Exchange 2016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B78D0CB6-8FDE-0DCB-8704-9C3C8AA5204C}"/>
              </a:ext>
            </a:extLst>
          </p:cNvPr>
          <p:cNvSpPr/>
          <p:nvPr/>
        </p:nvSpPr>
        <p:spPr>
          <a:xfrm>
            <a:off x="6590272" y="3560108"/>
            <a:ext cx="1981200" cy="2981325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b"/>
          <a:lstStyle/>
          <a:p>
            <a:r>
              <a:rPr lang="en-US" sz="1200" dirty="0"/>
              <a:t>Exchange 2019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8A1E418-773C-F13E-F819-74091BF61917}"/>
              </a:ext>
            </a:extLst>
          </p:cNvPr>
          <p:cNvSpPr/>
          <p:nvPr/>
        </p:nvSpPr>
        <p:spPr>
          <a:xfrm>
            <a:off x="8892147" y="3560107"/>
            <a:ext cx="1981200" cy="2981325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b"/>
          <a:lstStyle/>
          <a:p>
            <a:r>
              <a:rPr lang="en-US" sz="1200" dirty="0"/>
              <a:t>Exchange 2019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ACABF833-64B4-F3CC-BB34-EDB2794D8A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0422" y="5779432"/>
            <a:ext cx="781050" cy="7620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4006C00E-2618-06D2-7983-F3A22A6EA4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68485" y="5779432"/>
            <a:ext cx="781050" cy="762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76692DE4-4EC5-8042-4F12-588A3A2436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55716" y="5742590"/>
            <a:ext cx="819150" cy="790575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2F3F805F-8861-FD16-EF3D-CBAB96CE83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62353" y="5765144"/>
            <a:ext cx="819150" cy="790575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D44B5B10-DF5D-2152-279E-2DDDD09F419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06072" y="1512162"/>
            <a:ext cx="819150" cy="5334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F65762D6-0419-2AA3-735C-7F51A5F2D11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38491" y="5765144"/>
            <a:ext cx="400050" cy="428625"/>
          </a:xfrm>
          <a:prstGeom prst="rect">
            <a:avLst/>
          </a:prstGeom>
        </p:spPr>
      </p:pic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97C1CB5A-91D5-6A80-5E05-59F4F0FBC4B5}"/>
              </a:ext>
            </a:extLst>
          </p:cNvPr>
          <p:cNvCxnSpPr>
            <a:stCxn id="22" idx="2"/>
            <a:endCxn id="5" idx="0"/>
          </p:cNvCxnSpPr>
          <p:nvPr/>
        </p:nvCxnSpPr>
        <p:spPr>
          <a:xfrm>
            <a:off x="6415647" y="2045562"/>
            <a:ext cx="11907" cy="733496"/>
          </a:xfrm>
          <a:prstGeom prst="straightConnector1">
            <a:avLst/>
          </a:prstGeom>
          <a:ln w="381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31E93058-3135-0883-31A6-CBBB9DE0981B}"/>
              </a:ext>
            </a:extLst>
          </p:cNvPr>
          <p:cNvCxnSpPr>
            <a:cxnSpLocks/>
            <a:stCxn id="5" idx="2"/>
            <a:endCxn id="8" idx="0"/>
          </p:cNvCxnSpPr>
          <p:nvPr/>
        </p:nvCxnSpPr>
        <p:spPr>
          <a:xfrm>
            <a:off x="6427554" y="3187950"/>
            <a:ext cx="1153319" cy="586129"/>
          </a:xfrm>
          <a:prstGeom prst="straightConnector1">
            <a:avLst/>
          </a:prstGeom>
          <a:ln w="381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A9C48F89-785C-BDCF-25C5-15D8C1E47BB2}"/>
              </a:ext>
            </a:extLst>
          </p:cNvPr>
          <p:cNvCxnSpPr>
            <a:cxnSpLocks/>
            <a:stCxn id="8" idx="2"/>
            <a:endCxn id="11" idx="0"/>
          </p:cNvCxnSpPr>
          <p:nvPr/>
        </p:nvCxnSpPr>
        <p:spPr>
          <a:xfrm flipH="1">
            <a:off x="5278998" y="4182971"/>
            <a:ext cx="2301875" cy="381683"/>
          </a:xfrm>
          <a:prstGeom prst="straightConnector1">
            <a:avLst/>
          </a:prstGeom>
          <a:ln w="381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07878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82D97FAF-1C56-87A6-79CB-DF8207240D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ad Balancing and Kerbero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47941DD-9D61-45BD-8B29-9CEE1B5C2A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change Server 2013/2016 + Exchange Server 2019</a:t>
            </a:r>
          </a:p>
          <a:p>
            <a:pPr lvl="1"/>
            <a:r>
              <a:rPr lang="en-US" dirty="0"/>
              <a:t>1 Alternate service account (ASA) in the same environment</a:t>
            </a:r>
          </a:p>
          <a:p>
            <a:r>
              <a:rPr lang="en-US" dirty="0"/>
              <a:t>Double hop migration</a:t>
            </a:r>
          </a:p>
          <a:p>
            <a:pPr lvl="1"/>
            <a:r>
              <a:rPr lang="en-US" dirty="0"/>
              <a:t>Exchange Server 2010 and 2016 cannot share the same account</a:t>
            </a:r>
          </a:p>
          <a:p>
            <a:pPr lvl="1"/>
            <a:r>
              <a:rPr lang="en-US" dirty="0"/>
              <a:t>1 ASA for Exchange Server 2010</a:t>
            </a:r>
          </a:p>
          <a:p>
            <a:pPr lvl="1"/>
            <a:r>
              <a:rPr lang="en-US" dirty="0"/>
              <a:t>1 ASA for Exchange Server 2016</a:t>
            </a:r>
          </a:p>
        </p:txBody>
      </p:sp>
    </p:spTree>
    <p:extLst>
      <p:ext uri="{BB962C8B-B14F-4D97-AF65-F5344CB8AC3E}">
        <p14:creationId xmlns:p14="http://schemas.microsoft.com/office/powerpoint/2010/main" val="107558234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6B0AC2-B025-A989-29BA-1470A02C5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 to Exchange Server 2019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A260745-9B2D-414D-56A1-E59273CA80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nfigure Exchange 2019 receive connectors </a:t>
            </a:r>
          </a:p>
          <a:p>
            <a:pPr lvl="1"/>
            <a:r>
              <a:rPr lang="en-US" dirty="0"/>
              <a:t>Dedicated relay connectors for your environment</a:t>
            </a:r>
          </a:p>
          <a:p>
            <a:pPr lvl="1"/>
            <a:r>
              <a:rPr lang="en-US" dirty="0"/>
              <a:t>Hybrid mail-flow connector when using Exchange Hybrid without Edge</a:t>
            </a:r>
          </a:p>
          <a:p>
            <a:r>
              <a:rPr lang="en-US" dirty="0"/>
              <a:t>Move all mailboxes to Exchange Server 2019</a:t>
            </a:r>
          </a:p>
          <a:p>
            <a:pPr lvl="1"/>
            <a:r>
              <a:rPr lang="en-US" dirty="0"/>
              <a:t>System, Arbitration</a:t>
            </a:r>
          </a:p>
          <a:p>
            <a:pPr lvl="1"/>
            <a:r>
              <a:rPr lang="en-US" dirty="0"/>
              <a:t>User, Shared, Room, Resource, Public Folder</a:t>
            </a:r>
          </a:p>
          <a:p>
            <a:r>
              <a:rPr lang="en-US" dirty="0"/>
              <a:t>Adjust send connectors source servers to Exchange 2019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30113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7E1FEF-7390-EB62-7825-92A702C27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stem Mailboxes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5FDD74A-8F42-397C-1205-A9DF12F47D1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en-US" sz="1600" dirty="0"/>
              <a:t>SystemMailbox{1f05a927-d5d7-47a6-b498-f5266abdf909}</a:t>
            </a:r>
          </a:p>
          <a:p>
            <a:r>
              <a:rPr lang="en-US" sz="1600" dirty="0"/>
              <a:t>SystemMailbox{bb558c35-97f1-4cb9-8ff7-d53741dc928c}</a:t>
            </a:r>
          </a:p>
          <a:p>
            <a:r>
              <a:rPr lang="en-US" sz="1600" dirty="0"/>
              <a:t>SystemMailbox{e0dc1c29-89c3-4034-b678-e6c29d823ed9}</a:t>
            </a:r>
          </a:p>
          <a:p>
            <a:r>
              <a:rPr lang="en-US" sz="1600" dirty="0"/>
              <a:t>SystemMailbox{D0E409A0-AF9B-4720-92FE-AAC869B0D201}</a:t>
            </a:r>
          </a:p>
          <a:p>
            <a:r>
              <a:rPr lang="en-US" sz="1600" dirty="0"/>
              <a:t>SystemMailbox{2CE34405-31BE-455D-89D7-A7C7DA7A0DAA}</a:t>
            </a:r>
          </a:p>
          <a:p>
            <a:r>
              <a:rPr lang="en-US" sz="1600" dirty="0"/>
              <a:t>FederatedEmail.4c1f4d8b-8179-4148-93bf-00a95fa1e042</a:t>
            </a:r>
          </a:p>
          <a:p>
            <a:r>
              <a:rPr lang="en-US" sz="1600" dirty="0"/>
              <a:t>Migration.8f3e7716-2011-43e4-96b1-aba62d229136</a:t>
            </a:r>
          </a:p>
          <a:p>
            <a:r>
              <a:rPr lang="en-US" sz="1600" dirty="0"/>
              <a:t>DiscoverySearchMailbox {D919BA05-46A6-415f-80AD-7E09334BB852}</a:t>
            </a:r>
          </a:p>
          <a:p>
            <a:endParaRPr lang="en-US" sz="1600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B67A1B6-8D46-D83C-1699-8C64492F52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65858"/>
            <a:ext cx="5181600" cy="371193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f you do not move system mailboxes to Exchange 2019</a:t>
            </a:r>
          </a:p>
          <a:p>
            <a:r>
              <a:rPr lang="en-US" sz="2400" dirty="0"/>
              <a:t>No saving and exporting of </a:t>
            </a:r>
            <a:r>
              <a:rPr lang="en-US" sz="2400"/>
              <a:t>Admin Audit </a:t>
            </a:r>
            <a:r>
              <a:rPr lang="en-US" sz="2400" dirty="0"/>
              <a:t>Log</a:t>
            </a:r>
          </a:p>
          <a:p>
            <a:r>
              <a:rPr lang="en-US" sz="2400" dirty="0"/>
              <a:t>No eDiscovery Search</a:t>
            </a:r>
          </a:p>
          <a:p>
            <a:r>
              <a:rPr lang="en-US" sz="2400" dirty="0"/>
              <a:t>No mailbox batch migration</a:t>
            </a:r>
          </a:p>
        </p:txBody>
      </p:sp>
    </p:spTree>
    <p:extLst>
      <p:ext uri="{BB962C8B-B14F-4D97-AF65-F5344CB8AC3E}">
        <p14:creationId xmlns:p14="http://schemas.microsoft.com/office/powerpoint/2010/main" val="11855887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7F053C32-59AF-1B55-8AE7-39EDF8AC8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ine Address Book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27917BD-78AF-FADD-8990-796E417A00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odern Exchange Servers use a dedicated modern OAB</a:t>
            </a:r>
          </a:p>
          <a:p>
            <a:r>
              <a:rPr lang="en-US" dirty="0"/>
              <a:t>No address book migration with modern Exchange Servers</a:t>
            </a:r>
          </a:p>
          <a:p>
            <a:pPr lvl="1"/>
            <a:r>
              <a:rPr lang="en-US" dirty="0"/>
              <a:t>OAB is generated by one or more system mailboxes</a:t>
            </a:r>
          </a:p>
          <a:p>
            <a:r>
              <a:rPr lang="en-US" dirty="0"/>
              <a:t>When migrating from Exchange 2010</a:t>
            </a:r>
          </a:p>
          <a:p>
            <a:pPr lvl="1"/>
            <a:r>
              <a:rPr lang="en-US" dirty="0"/>
              <a:t>Assign Exchange 2010 OAB to 2016 databases</a:t>
            </a:r>
          </a:p>
          <a:p>
            <a:pPr lvl="1"/>
            <a:r>
              <a:rPr lang="en-US" dirty="0"/>
              <a:t>Change to Exchange Server 2016 OAB after final migratio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21C73DB2-8C79-7DD3-F66C-4D59697EB2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1802" y="5862344"/>
            <a:ext cx="6112911" cy="94454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F27DFB55-940A-F0A4-21A6-60A22F105910}"/>
              </a:ext>
            </a:extLst>
          </p:cNvPr>
          <p:cNvGrpSpPr/>
          <p:nvPr/>
        </p:nvGrpSpPr>
        <p:grpSpPr>
          <a:xfrm>
            <a:off x="7023238" y="6371817"/>
            <a:ext cx="2805141" cy="489365"/>
            <a:chOff x="7023238" y="6371817"/>
            <a:chExt cx="2805141" cy="489365"/>
          </a:xfrm>
        </p:grpSpPr>
        <p:cxnSp>
          <p:nvCxnSpPr>
            <p:cNvPr id="8" name="Gerade Verbindung mit Pfeil 7">
              <a:extLst>
                <a:ext uri="{FF2B5EF4-FFF2-40B4-BE49-F238E27FC236}">
                  <a16:creationId xmlns:a16="http://schemas.microsoft.com/office/drawing/2014/main" id="{C0D7D4C0-8739-E9DB-CE9F-A4BC3B25D12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023238" y="6538261"/>
              <a:ext cx="834887" cy="81614"/>
            </a:xfrm>
            <a:prstGeom prst="straightConnector1">
              <a:avLst/>
            </a:prstGeom>
            <a:ln w="38100">
              <a:solidFill>
                <a:srgbClr val="28A8E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54">
              <a:extLst>
                <a:ext uri="{FF2B5EF4-FFF2-40B4-BE49-F238E27FC236}">
                  <a16:creationId xmlns:a16="http://schemas.microsoft.com/office/drawing/2014/main" id="{E977205C-F1CC-FEEC-D322-F89ADE468839}"/>
                </a:ext>
              </a:extLst>
            </p:cNvPr>
            <p:cNvSpPr txBox="1"/>
            <p:nvPr/>
          </p:nvSpPr>
          <p:spPr>
            <a:xfrm>
              <a:off x="7716906" y="6371817"/>
              <a:ext cx="2111473" cy="4893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Modern OAB</a:t>
              </a: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2BA123E9-5BE9-C40E-8FE4-853024F3DF53}"/>
              </a:ext>
            </a:extLst>
          </p:cNvPr>
          <p:cNvGrpSpPr/>
          <p:nvPr/>
        </p:nvGrpSpPr>
        <p:grpSpPr>
          <a:xfrm>
            <a:off x="7023238" y="5961002"/>
            <a:ext cx="2805141" cy="489365"/>
            <a:chOff x="7023238" y="5961002"/>
            <a:chExt cx="2805141" cy="489365"/>
          </a:xfrm>
        </p:grpSpPr>
        <p:cxnSp>
          <p:nvCxnSpPr>
            <p:cNvPr id="3" name="Gerade Verbindung mit Pfeil 2">
              <a:extLst>
                <a:ext uri="{FF2B5EF4-FFF2-40B4-BE49-F238E27FC236}">
                  <a16:creationId xmlns:a16="http://schemas.microsoft.com/office/drawing/2014/main" id="{9AEA7A0E-8239-0317-9623-AD110E44AA6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23238" y="6205685"/>
              <a:ext cx="834887" cy="182263"/>
            </a:xfrm>
            <a:prstGeom prst="straightConnector1">
              <a:avLst/>
            </a:prstGeom>
            <a:ln w="38100">
              <a:solidFill>
                <a:srgbClr val="28A8E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54">
              <a:extLst>
                <a:ext uri="{FF2B5EF4-FFF2-40B4-BE49-F238E27FC236}">
                  <a16:creationId xmlns:a16="http://schemas.microsoft.com/office/drawing/2014/main" id="{AC12B0A6-3219-301E-356E-013E609956F8}"/>
                </a:ext>
              </a:extLst>
            </p:cNvPr>
            <p:cNvSpPr txBox="1"/>
            <p:nvPr/>
          </p:nvSpPr>
          <p:spPr>
            <a:xfrm>
              <a:off x="7716906" y="5961002"/>
              <a:ext cx="2111473" cy="4893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acy OAB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0512076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137943-39D5-B2B2-E63A-F92FE74F8D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dern Public Folder Migratio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4CF82A2-3119-5FEC-E8C2-2258A3A0FF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change 2013/2016 to Exchange 2019</a:t>
            </a:r>
          </a:p>
          <a:p>
            <a:pPr lvl="1"/>
            <a:r>
              <a:rPr lang="en-US" dirty="0"/>
              <a:t>Move Public Folder mailboxes to Exchange 2019</a:t>
            </a:r>
          </a:p>
          <a:p>
            <a:pPr lvl="1"/>
            <a:endParaRPr lang="en-US" dirty="0"/>
          </a:p>
        </p:txBody>
      </p:sp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B3FD469F-DB40-0853-E5ED-9FC3803FD4B0}"/>
              </a:ext>
            </a:extLst>
          </p:cNvPr>
          <p:cNvSpPr/>
          <p:nvPr/>
        </p:nvSpPr>
        <p:spPr>
          <a:xfrm>
            <a:off x="4730199" y="5183689"/>
            <a:ext cx="2223602" cy="66970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3652B8C2-00E6-CFC1-7102-83914ECA9166}"/>
              </a:ext>
            </a:extLst>
          </p:cNvPr>
          <p:cNvGrpSpPr/>
          <p:nvPr/>
        </p:nvGrpSpPr>
        <p:grpSpPr>
          <a:xfrm>
            <a:off x="7249260" y="5022417"/>
            <a:ext cx="2111473" cy="1475576"/>
            <a:chOff x="7249260" y="5022417"/>
            <a:chExt cx="2111473" cy="1475576"/>
          </a:xfrm>
        </p:grpSpPr>
        <p:sp>
          <p:nvSpPr>
            <p:cNvPr id="6" name="TextBox 54">
              <a:extLst>
                <a:ext uri="{FF2B5EF4-FFF2-40B4-BE49-F238E27FC236}">
                  <a16:creationId xmlns:a16="http://schemas.microsoft.com/office/drawing/2014/main" id="{9AC5BBCA-D49F-B578-A6BE-D56B645673B1}"/>
                </a:ext>
              </a:extLst>
            </p:cNvPr>
            <p:cNvSpPr txBox="1"/>
            <p:nvPr/>
          </p:nvSpPr>
          <p:spPr>
            <a:xfrm>
              <a:off x="7249260" y="5980928"/>
              <a:ext cx="2111473" cy="5170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Exchange 2019</a:t>
              </a:r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69219512-2E39-59FB-F33E-8A644A2456E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808381" y="5022417"/>
              <a:ext cx="982473" cy="958511"/>
            </a:xfrm>
            <a:prstGeom prst="rect">
              <a:avLst/>
            </a:prstGeom>
          </p:spPr>
        </p:pic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43B15675-5796-D98C-D02C-82EBACECC616}"/>
              </a:ext>
            </a:extLst>
          </p:cNvPr>
          <p:cNvGrpSpPr/>
          <p:nvPr/>
        </p:nvGrpSpPr>
        <p:grpSpPr>
          <a:xfrm>
            <a:off x="584200" y="5022417"/>
            <a:ext cx="2111473" cy="1644248"/>
            <a:chOff x="584200" y="5022417"/>
            <a:chExt cx="2111473" cy="1644248"/>
          </a:xfrm>
        </p:grpSpPr>
        <p:sp>
          <p:nvSpPr>
            <p:cNvPr id="4" name="TextBox 54">
              <a:extLst>
                <a:ext uri="{FF2B5EF4-FFF2-40B4-BE49-F238E27FC236}">
                  <a16:creationId xmlns:a16="http://schemas.microsoft.com/office/drawing/2014/main" id="{5C2CDC46-D40D-683D-1CED-5E90BE9A4360}"/>
                </a:ext>
              </a:extLst>
            </p:cNvPr>
            <p:cNvSpPr txBox="1"/>
            <p:nvPr/>
          </p:nvSpPr>
          <p:spPr>
            <a:xfrm>
              <a:off x="584200" y="6149600"/>
              <a:ext cx="2111473" cy="5170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Exchange 2013</a:t>
              </a:r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EC248E44-5F08-6C84-B70E-C360A8BA952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344704" y="5022417"/>
              <a:ext cx="1028110" cy="992246"/>
            </a:xfrm>
            <a:prstGeom prst="rect">
              <a:avLst/>
            </a:prstGeom>
          </p:spPr>
        </p:pic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159832E3-DA32-17C3-3C18-05704A78F91C}"/>
              </a:ext>
            </a:extLst>
          </p:cNvPr>
          <p:cNvGrpSpPr/>
          <p:nvPr/>
        </p:nvGrpSpPr>
        <p:grpSpPr>
          <a:xfrm>
            <a:off x="2377411" y="5022417"/>
            <a:ext cx="2111473" cy="1636655"/>
            <a:chOff x="2377411" y="5022417"/>
            <a:chExt cx="2111473" cy="1636655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335D9D51-220A-5A41-DEBB-3809364B82C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037452" y="5022417"/>
              <a:ext cx="1028109" cy="995981"/>
            </a:xfrm>
            <a:prstGeom prst="rect">
              <a:avLst/>
            </a:prstGeom>
          </p:spPr>
        </p:pic>
        <p:sp>
          <p:nvSpPr>
            <p:cNvPr id="13" name="TextBox 54">
              <a:extLst>
                <a:ext uri="{FF2B5EF4-FFF2-40B4-BE49-F238E27FC236}">
                  <a16:creationId xmlns:a16="http://schemas.microsoft.com/office/drawing/2014/main" id="{156FFA64-D16B-8E93-C8A6-FC01FAD60792}"/>
                </a:ext>
              </a:extLst>
            </p:cNvPr>
            <p:cNvSpPr txBox="1"/>
            <p:nvPr/>
          </p:nvSpPr>
          <p:spPr>
            <a:xfrm>
              <a:off x="2377411" y="6142007"/>
              <a:ext cx="2111473" cy="5170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000000"/>
                  </a:solidFill>
                </a:rPr>
                <a:t>Exchange 2016</a:t>
              </a:r>
            </a:p>
          </p:txBody>
        </p:sp>
      </p:grpSp>
      <p:pic>
        <p:nvPicPr>
          <p:cNvPr id="15" name="Grafik 14">
            <a:extLst>
              <a:ext uri="{FF2B5EF4-FFF2-40B4-BE49-F238E27FC236}">
                <a16:creationId xmlns:a16="http://schemas.microsoft.com/office/drawing/2014/main" id="{84736BAB-A63A-4D8B-8007-8CDBC2B56C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18478" y="5758678"/>
            <a:ext cx="463550" cy="4445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282E81A7-8679-EF2D-45F9-A20EFA0A95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26984" y="5718826"/>
            <a:ext cx="463550" cy="4445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AE43F551-748F-7076-827B-E187E1B5FE9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7842" y="5631140"/>
            <a:ext cx="463550" cy="4445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9D9AF049-880A-B79B-4067-AC4BEE8656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46415" y="5022417"/>
            <a:ext cx="463550" cy="44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1669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E92CB0-B8A1-702D-6451-A5E9D139B7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otes from the Field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3B3D8E-0E41-9A95-471C-B34221FD7A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Sharing our best practices on migrations…</a:t>
            </a:r>
          </a:p>
        </p:txBody>
      </p:sp>
    </p:spTree>
    <p:extLst>
      <p:ext uri="{BB962C8B-B14F-4D97-AF65-F5344CB8AC3E}">
        <p14:creationId xmlns:p14="http://schemas.microsoft.com/office/powerpoint/2010/main" val="22170606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6B0AC2-B025-A989-29BA-1470A02C5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es from the Field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A260745-9B2D-414D-56A1-E59273CA80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Ensure using the same TLS certificate and TLS configuration across all Exchange Servers</a:t>
            </a:r>
          </a:p>
          <a:p>
            <a:r>
              <a:rPr lang="en-US" dirty="0"/>
              <a:t>Check default database quota settings after initial setup of new Exchange 2019 databases</a:t>
            </a:r>
          </a:p>
          <a:p>
            <a:r>
              <a:rPr lang="en-US" dirty="0"/>
              <a:t>Plan enough space for the </a:t>
            </a:r>
            <a:r>
              <a:rPr lang="en-US" dirty="0" err="1"/>
              <a:t>mail.que</a:t>
            </a:r>
            <a:r>
              <a:rPr lang="en-US" dirty="0"/>
              <a:t> file!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65705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6B0AC2-B025-A989-29BA-1470A02C5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es from the Field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A260745-9B2D-414D-56A1-E59273CA80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4200" y="3176749"/>
            <a:ext cx="9775283" cy="3096410"/>
          </a:xfrm>
        </p:spPr>
        <p:txBody>
          <a:bodyPr>
            <a:normAutofit lnSpcReduction="10000"/>
          </a:bodyPr>
          <a:lstStyle/>
          <a:p>
            <a:r>
              <a:rPr lang="en-US" dirty="0"/>
              <a:t>Check default connector remote IP address ranges of old Exchange Servers</a:t>
            </a:r>
          </a:p>
          <a:p>
            <a:pPr lvl="1"/>
            <a:r>
              <a:rPr lang="en-US" dirty="0"/>
              <a:t>When you changed the default remote IP ranges, you must add the address of the new Exchange 2019 servers</a:t>
            </a:r>
          </a:p>
          <a:p>
            <a:r>
              <a:rPr lang="en-US" dirty="0"/>
              <a:t>Configure the Hypervisor for fixed and reserved CPU and memory resources</a:t>
            </a:r>
          </a:p>
          <a:p>
            <a:pPr lvl="1"/>
            <a:r>
              <a:rPr lang="en-US" dirty="0"/>
              <a:t>A virtualized Exchange Server has the same requirements as when running on a physical hardware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7653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00083A2-D83F-A486-6242-380967B76F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A91CB57A-3D8C-B209-CE3B-5394AD4E5A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y should you upgrade to Exchange Server 2019?</a:t>
            </a:r>
          </a:p>
          <a:p>
            <a:r>
              <a:rPr lang="en-US" dirty="0"/>
              <a:t>How do you upgrade to Exchange Server 2019?</a:t>
            </a:r>
          </a:p>
          <a:p>
            <a:pPr lvl="1"/>
            <a:r>
              <a:rPr lang="en-US" dirty="0"/>
              <a:t>Exchange 2013 &amp; Exchange 2016</a:t>
            </a:r>
          </a:p>
          <a:p>
            <a:r>
              <a:rPr lang="en-US" dirty="0"/>
              <a:t>Notes From The Field</a:t>
            </a:r>
          </a:p>
        </p:txBody>
      </p:sp>
    </p:spTree>
    <p:extLst>
      <p:ext uri="{BB962C8B-B14F-4D97-AF65-F5344CB8AC3E}">
        <p14:creationId xmlns:p14="http://schemas.microsoft.com/office/powerpoint/2010/main" val="17494379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AD384D-7465-16EA-6C1D-CCFAD845BD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I over HTTP Best Pract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1E8338C-B20B-9634-8F4B-289E726FC8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MAPI over HTTP is deactivated for your Exchange organization, and you only want to enable MAPI over HTTP for Exchange 2019 mailboxes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dirty="0"/>
              <a:t>Deactivate MAPI over HTTP org-wide (</a:t>
            </a:r>
            <a:r>
              <a:rPr lang="en-US" dirty="0" err="1"/>
              <a:t>MapiHttpEnabled</a:t>
            </a:r>
            <a:r>
              <a:rPr lang="en-US" dirty="0"/>
              <a:t> = $False)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dirty="0"/>
              <a:t>Set </a:t>
            </a:r>
            <a:r>
              <a:rPr lang="en-US" dirty="0" err="1"/>
              <a:t>MapiHttpEnable</a:t>
            </a:r>
            <a:r>
              <a:rPr lang="en-US" dirty="0"/>
              <a:t> to $true for the mailbox prior migration using Exchange 2019 Management Shell Set-</a:t>
            </a:r>
            <a:r>
              <a:rPr lang="en-US" dirty="0" err="1"/>
              <a:t>CASMilbox</a:t>
            </a:r>
            <a:r>
              <a:rPr lang="en-US" dirty="0"/>
              <a:t> cmdlet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dirty="0"/>
              <a:t>Move the mailbox to Exchange Server 2019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dirty="0"/>
              <a:t>Set org-wide </a:t>
            </a:r>
            <a:r>
              <a:rPr lang="en-US" dirty="0" err="1"/>
              <a:t>MapiHttpEnabled</a:t>
            </a:r>
            <a:r>
              <a:rPr lang="en-US" dirty="0"/>
              <a:t> to $true after final mailbox migration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dirty="0"/>
              <a:t>Set </a:t>
            </a:r>
            <a:r>
              <a:rPr lang="en-US" dirty="0" err="1"/>
              <a:t>MapiHttpEnable</a:t>
            </a:r>
            <a:r>
              <a:rPr lang="en-US" dirty="0"/>
              <a:t> to $null for all migrated mailboxes </a:t>
            </a:r>
          </a:p>
        </p:txBody>
      </p:sp>
    </p:spTree>
    <p:extLst>
      <p:ext uri="{BB962C8B-B14F-4D97-AF65-F5344CB8AC3E}">
        <p14:creationId xmlns:p14="http://schemas.microsoft.com/office/powerpoint/2010/main" val="1193727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DD0077-BD40-0596-2BA5-78EF3D6ED3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blic Folder during Coexistenc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5515FD-4459-732F-1B3C-5EC718B80A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imary user mailbox hosted on Exchange Server 2019 and Public Folder mailboxes still on Exchange Server 2016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No access to public folder favorites via Outlook on the Web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Problems accessing organizational forms using Outlook for Desktop </a:t>
            </a:r>
          </a:p>
          <a:p>
            <a:pPr marL="457200" lvl="1" indent="0">
              <a:buNone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Recommendation</a:t>
            </a:r>
          </a:p>
          <a:p>
            <a:pPr marL="457200" lvl="1" indent="0">
              <a:buNone/>
            </a:pPr>
            <a:r>
              <a:rPr lang="en-US" dirty="0">
                <a:sym typeface="Wingdings" panose="05000000000000000000" pitchFamily="2" charset="2"/>
              </a:rPr>
              <a:t> Move public folder mailboxes to Exchange Server 2019 first</a:t>
            </a:r>
          </a:p>
        </p:txBody>
      </p:sp>
    </p:spTree>
    <p:extLst>
      <p:ext uri="{BB962C8B-B14F-4D97-AF65-F5344CB8AC3E}">
        <p14:creationId xmlns:p14="http://schemas.microsoft.com/office/powerpoint/2010/main" val="281174352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6B0AC2-B025-A989-29BA-1470A02C5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dge Transport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A260745-9B2D-414D-56A1-E59273CA80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 a dedicated TLS certificate not used by internal mailbox servers</a:t>
            </a:r>
          </a:p>
          <a:p>
            <a:r>
              <a:rPr lang="en-US" dirty="0"/>
              <a:t>Ensure Edge TLS certificate is a CAPI1 certificate</a:t>
            </a:r>
          </a:p>
          <a:p>
            <a:pPr lvl="1"/>
            <a:r>
              <a:rPr lang="en-US" dirty="0"/>
              <a:t>EdgeSync does not support CNG certificates</a:t>
            </a:r>
          </a:p>
          <a:p>
            <a:r>
              <a:rPr lang="en-US" dirty="0"/>
              <a:t>Do not use TLS offloading or TLS bridging between internal Mailbox servers and Edge Transport servers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637762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46FCD0-C54B-A233-ED4D-24D4C83A4F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ful Links &amp; Resources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A8627BE-01A5-2F2C-62DD-9958265C12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sz="2000" dirty="0">
                <a:hlinkClick r:id="rId3"/>
              </a:rPr>
              <a:t>Exchange Server Supportability Matrix</a:t>
            </a:r>
            <a:endParaRPr lang="en-US" sz="2000" dirty="0"/>
          </a:p>
          <a:p>
            <a:r>
              <a:rPr lang="en-US" sz="2000" dirty="0">
                <a:hlinkClick r:id="rId4"/>
              </a:rPr>
              <a:t>Exchange Server HealthChecker</a:t>
            </a:r>
            <a:endParaRPr lang="en-US" sz="2000" dirty="0"/>
          </a:p>
          <a:p>
            <a:r>
              <a:rPr lang="en-US" sz="2000" dirty="0">
                <a:hlinkClick r:id="rId5"/>
              </a:rPr>
              <a:t>Exchange Deployment Wizard</a:t>
            </a:r>
            <a:r>
              <a:rPr lang="en-US" sz="2000" dirty="0"/>
              <a:t> </a:t>
            </a:r>
          </a:p>
          <a:p>
            <a:r>
              <a:rPr lang="en-US" sz="2000" dirty="0">
                <a:hlinkClick r:id="rId6"/>
              </a:rPr>
              <a:t>Configure Kerberos authentication for load-balanced Client Access services</a:t>
            </a:r>
            <a:endParaRPr lang="en-US" sz="2000" dirty="0"/>
          </a:p>
          <a:p>
            <a:r>
              <a:rPr lang="en-US" sz="2000" dirty="0">
                <a:hlinkClick r:id="rId7"/>
              </a:rPr>
              <a:t>Exchange Server Support Scripts</a:t>
            </a:r>
            <a:endParaRPr lang="en-US" sz="2000" dirty="0"/>
          </a:p>
          <a:p>
            <a:r>
              <a:rPr lang="en-US" sz="2000" dirty="0">
                <a:hlinkClick r:id="rId8"/>
              </a:rPr>
              <a:t>Disabling Legacy Authentication in Exchange Server 2019</a:t>
            </a:r>
            <a:endParaRPr lang="en-US" sz="2000" dirty="0"/>
          </a:p>
          <a:p>
            <a:r>
              <a:rPr lang="en-US" sz="2000" dirty="0">
                <a:hlinkClick r:id="rId9"/>
              </a:rPr>
              <a:t>Decommissioning Exchange Server 2013</a:t>
            </a:r>
            <a:endParaRPr lang="en-US" sz="2000" dirty="0"/>
          </a:p>
          <a:p>
            <a:r>
              <a:rPr lang="en-US" sz="2000">
                <a:hlinkClick r:id="rId10"/>
              </a:rPr>
              <a:t>MS-203: Microsoft 365 Messaging</a:t>
            </a:r>
            <a:endParaRPr lang="en-US" sz="200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8094133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A1316D9-C30C-6C52-4CD8-960C06F98F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95174"/>
            <a:ext cx="12192000" cy="17628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54D0712-3C9F-A435-2D37-4C8A80C5A7EF}"/>
              </a:ext>
            </a:extLst>
          </p:cNvPr>
          <p:cNvSpPr/>
          <p:nvPr/>
        </p:nvSpPr>
        <p:spPr>
          <a:xfrm>
            <a:off x="10716768" y="5352288"/>
            <a:ext cx="1182624" cy="329184"/>
          </a:xfrm>
          <a:prstGeom prst="rect">
            <a:avLst/>
          </a:prstGeom>
          <a:solidFill>
            <a:srgbClr val="253B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4E47603-1DC8-614F-21D9-DE9CF2D9CAA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7426" y="5387972"/>
            <a:ext cx="1182624" cy="253524"/>
          </a:xfrm>
          <a:prstGeom prst="rect">
            <a:avLst/>
          </a:prstGeom>
        </p:spPr>
      </p:pic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B798789-4461-C89A-DF9A-908A12CC435A}"/>
              </a:ext>
            </a:extLst>
          </p:cNvPr>
          <p:cNvGrpSpPr/>
          <p:nvPr/>
        </p:nvGrpSpPr>
        <p:grpSpPr>
          <a:xfrm>
            <a:off x="215712" y="4274973"/>
            <a:ext cx="5083834" cy="2292935"/>
            <a:chOff x="740720" y="4134334"/>
            <a:chExt cx="5083834" cy="2292935"/>
          </a:xfrm>
        </p:grpSpPr>
        <p:sp>
          <p:nvSpPr>
            <p:cNvPr id="9" name="Rechteck 9">
              <a:extLst>
                <a:ext uri="{FF2B5EF4-FFF2-40B4-BE49-F238E27FC236}">
                  <a16:creationId xmlns:a16="http://schemas.microsoft.com/office/drawing/2014/main" id="{32E8B65F-4940-BBD3-B04E-13B816B6FD04}"/>
                </a:ext>
              </a:extLst>
            </p:cNvPr>
            <p:cNvSpPr/>
            <p:nvPr/>
          </p:nvSpPr>
          <p:spPr>
            <a:xfrm>
              <a:off x="740720" y="4134334"/>
              <a:ext cx="5083834" cy="2292935"/>
            </a:xfrm>
            <a:prstGeom prst="rect">
              <a:avLst/>
            </a:prstGeom>
            <a:solidFill>
              <a:srgbClr val="253B5D"/>
            </a:solidFill>
            <a:effectLst>
              <a:glow rad="228600">
                <a:schemeClr val="accent5">
                  <a:satMod val="175000"/>
                  <a:alpha val="40000"/>
                </a:schemeClr>
              </a:glo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3" defTabSz="932597"/>
              <a:r>
                <a:rPr lang="en-US" sz="2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</a:t>
              </a:r>
              <a:endParaRPr lang="en-US" sz="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3" defTabSz="932597"/>
              <a:r>
                <a:rPr lang="en-US" sz="2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Siegfried Jagott</a:t>
              </a:r>
            </a:p>
            <a:p>
              <a:pPr lvl="3" defTabSz="932597"/>
              <a:r>
                <a:rPr lang="en-US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MVP M365 Apps &amp; Services</a:t>
              </a:r>
            </a:p>
            <a:p>
              <a:pPr lvl="3" defTabSz="932597"/>
              <a:r>
                <a:rPr lang="en-US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       CEO @      </a:t>
              </a:r>
            </a:p>
            <a:p>
              <a:pPr defTabSz="932597"/>
              <a:r>
                <a:rPr lang="en-US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	</a:t>
              </a:r>
              <a:r>
                <a:rPr lang="en-US" sz="1500" b="1" dirty="0">
                  <a:solidFill>
                    <a:schemeClr val="bg1"/>
                  </a:solidFill>
                  <a:latin typeface="Segoe UI Light"/>
                </a:rPr>
                <a:t>siegfried.jagott@intellity.net</a:t>
              </a:r>
            </a:p>
            <a:p>
              <a:pPr defTabSz="932597"/>
              <a:r>
                <a:rPr lang="en-US" sz="1500" b="1" dirty="0">
                  <a:solidFill>
                    <a:schemeClr val="bg1"/>
                  </a:solidFill>
                  <a:latin typeface="Segoe UI Light"/>
                </a:rPr>
                <a:t>		Twitter: @SigiJ</a:t>
              </a:r>
            </a:p>
            <a:p>
              <a:pPr defTabSz="932597"/>
              <a:r>
                <a:rPr lang="en-US" sz="1500" b="1" dirty="0">
                  <a:solidFill>
                    <a:schemeClr val="bg1"/>
                  </a:solidFill>
                  <a:latin typeface="Segoe UI Light"/>
                </a:rPr>
                <a:t>		MVP: </a:t>
              </a:r>
              <a:r>
                <a:rPr lang="en-US" sz="1500" b="1" dirty="0">
                  <a:solidFill>
                    <a:schemeClr val="bg1"/>
                  </a:solidFill>
                  <a:latin typeface="Segoe UI Light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://bit.ly/1QMuVLc</a:t>
              </a:r>
              <a:endParaRPr lang="en-US" sz="1500" b="1" dirty="0">
                <a:solidFill>
                  <a:schemeClr val="bg1"/>
                </a:solidFill>
                <a:latin typeface="Segoe UI Light"/>
              </a:endParaRPr>
            </a:p>
            <a:p>
              <a:pPr defTabSz="932597"/>
              <a:endParaRPr lang="en-US" sz="11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8B7D1EBD-7DF4-21A8-FE5D-A960A3256DE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45981" y="4397028"/>
              <a:ext cx="1348618" cy="1675214"/>
            </a:xfrm>
            <a:prstGeom prst="rect">
              <a:avLst/>
            </a:prstGeom>
            <a:solidFill>
              <a:srgbClr val="253B5D"/>
            </a:solidFill>
            <a:effectLst>
              <a:glow rad="228600">
                <a:schemeClr val="accent5">
                  <a:satMod val="175000"/>
                  <a:alpha val="40000"/>
                </a:schemeClr>
              </a:glow>
            </a:effectLst>
          </p:spPr>
        </p:pic>
        <p:pic>
          <p:nvPicPr>
            <p:cNvPr id="11" name="Picture 8" descr="Text&#10;&#10;Description automatically generated with medium confidence">
              <a:extLst>
                <a:ext uri="{FF2B5EF4-FFF2-40B4-BE49-F238E27FC236}">
                  <a16:creationId xmlns:a16="http://schemas.microsoft.com/office/drawing/2014/main" id="{34AAF96C-BAD8-BBC1-EC54-6BB04A1D618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0583" y="5115086"/>
              <a:ext cx="1417986" cy="439548"/>
            </a:xfrm>
            <a:prstGeom prst="rect">
              <a:avLst/>
            </a:prstGeom>
          </p:spPr>
        </p:pic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B1651A80-F1ED-F880-15D3-BCDB80E019E4}"/>
              </a:ext>
            </a:extLst>
          </p:cNvPr>
          <p:cNvGrpSpPr/>
          <p:nvPr/>
        </p:nvGrpSpPr>
        <p:grpSpPr>
          <a:xfrm>
            <a:off x="6853143" y="4274973"/>
            <a:ext cx="5083834" cy="2292935"/>
            <a:chOff x="740720" y="4134334"/>
            <a:chExt cx="5083834" cy="2292935"/>
          </a:xfrm>
        </p:grpSpPr>
        <p:sp>
          <p:nvSpPr>
            <p:cNvPr id="13" name="Rechteck 9">
              <a:extLst>
                <a:ext uri="{FF2B5EF4-FFF2-40B4-BE49-F238E27FC236}">
                  <a16:creationId xmlns:a16="http://schemas.microsoft.com/office/drawing/2014/main" id="{DE885274-F05F-345A-D987-94516F3ABFCB}"/>
                </a:ext>
              </a:extLst>
            </p:cNvPr>
            <p:cNvSpPr/>
            <p:nvPr/>
          </p:nvSpPr>
          <p:spPr>
            <a:xfrm>
              <a:off x="740720" y="4134334"/>
              <a:ext cx="5083834" cy="2292935"/>
            </a:xfrm>
            <a:prstGeom prst="rect">
              <a:avLst/>
            </a:prstGeom>
            <a:solidFill>
              <a:srgbClr val="253B5D"/>
            </a:solidFill>
            <a:effectLst>
              <a:glow rad="228600">
                <a:schemeClr val="accent5">
                  <a:satMod val="175000"/>
                  <a:alpha val="40000"/>
                </a:schemeClr>
              </a:glo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3" defTabSz="932597"/>
              <a:r>
                <a:rPr lang="en-US" sz="2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</a:t>
              </a:r>
              <a:endParaRPr lang="en-US" sz="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3" defTabSz="932597"/>
              <a:r>
                <a:rPr lang="en-US" sz="2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Thomas Stensitzki</a:t>
              </a:r>
            </a:p>
            <a:p>
              <a:pPr lvl="3" defTabSz="932597"/>
              <a:r>
                <a:rPr lang="en-US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MVP M365 Apps &amp; Services</a:t>
              </a:r>
            </a:p>
            <a:p>
              <a:pPr lvl="3" defTabSz="932597"/>
              <a:r>
                <a:rPr lang="en-US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       CEO @ GRANIKOS</a:t>
              </a:r>
            </a:p>
            <a:p>
              <a:pPr defTabSz="932597"/>
              <a:r>
                <a:rPr lang="en-US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	</a:t>
              </a:r>
              <a:r>
                <a:rPr lang="en-US" sz="1500" b="1" dirty="0">
                  <a:solidFill>
                    <a:schemeClr val="bg1"/>
                  </a:solidFill>
                  <a:latin typeface="Segoe UI Light"/>
                </a:rPr>
                <a:t>Thomas.Stensitzki@Granikos.eu</a:t>
              </a:r>
            </a:p>
            <a:p>
              <a:pPr defTabSz="932597"/>
              <a:r>
                <a:rPr lang="en-US" sz="1500" b="1" dirty="0">
                  <a:solidFill>
                    <a:schemeClr val="bg1"/>
                  </a:solidFill>
                  <a:latin typeface="Segoe UI Light"/>
                </a:rPr>
                <a:t>		Twitter: @Stensitzki</a:t>
              </a:r>
            </a:p>
            <a:p>
              <a:pPr defTabSz="932597"/>
              <a:r>
                <a:rPr lang="en-US" sz="1500" b="1" dirty="0">
                  <a:solidFill>
                    <a:schemeClr val="bg1"/>
                  </a:solidFill>
                  <a:latin typeface="Segoe UI Light"/>
                </a:rPr>
                <a:t>		MVP: </a:t>
              </a:r>
              <a:r>
                <a:rPr lang="en-US" sz="1500" b="1" dirty="0">
                  <a:solidFill>
                    <a:schemeClr val="bg1"/>
                  </a:solidFill>
                  <a:latin typeface="Segoe UI Light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it.ly/3qxCI7t</a:t>
              </a:r>
              <a:r>
                <a:rPr lang="en-US" sz="1500" b="1" dirty="0">
                  <a:solidFill>
                    <a:schemeClr val="bg1"/>
                  </a:solidFill>
                  <a:latin typeface="Segoe UI Light"/>
                </a:rPr>
                <a:t> </a:t>
              </a:r>
            </a:p>
            <a:p>
              <a:pPr defTabSz="932597"/>
              <a:endParaRPr lang="en-US" sz="11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1F6B8609-8807-09DE-FD6C-547A5C114BB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47910" y="4380194"/>
              <a:ext cx="1348618" cy="1348618"/>
            </a:xfrm>
            <a:prstGeom prst="rect">
              <a:avLst/>
            </a:prstGeom>
            <a:solidFill>
              <a:srgbClr val="253B5D"/>
            </a:solidFill>
            <a:effectLst>
              <a:glow rad="228600">
                <a:schemeClr val="accent5">
                  <a:satMod val="175000"/>
                  <a:alpha val="40000"/>
                </a:schemeClr>
              </a:glow>
            </a:effectLst>
          </p:spPr>
        </p:pic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id="{2084178E-6BB0-7924-5418-D883A5E92777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2896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3867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Thank you!</a:t>
            </a:r>
            <a:br>
              <a:rPr lang="en-US" dirty="0"/>
            </a:br>
            <a:br>
              <a:rPr lang="en-US" dirty="0"/>
            </a:br>
            <a:r>
              <a:rPr lang="en-US" sz="3600" dirty="0"/>
              <a:t>Don’t forget to provide feedback</a:t>
            </a:r>
            <a:r>
              <a:rPr lang="en-US" sz="3600"/>
              <a:t>: </a:t>
            </a:r>
            <a:r>
              <a:rPr lang="en-US" sz="3600">
                <a:hlinkClick r:id="rId10"/>
              </a:rPr>
              <a:t>https://aka.ms/MECAIR204Survey</a:t>
            </a:r>
            <a:r>
              <a:rPr lang="en-US" sz="360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1090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30471A-DBA9-DA7F-E315-596A99F2774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66483" y="2084571"/>
            <a:ext cx="9215437" cy="23876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3B3D8E-0E41-9A95-471C-B34221FD7A7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6800" y="1180014"/>
            <a:ext cx="8788400" cy="778827"/>
          </a:xfrm>
        </p:spPr>
        <p:txBody>
          <a:bodyPr/>
          <a:lstStyle/>
          <a:p>
            <a:r>
              <a:rPr lang="en-US" dirty="0"/>
              <a:t>Why should you upgrade?</a:t>
            </a:r>
          </a:p>
        </p:txBody>
      </p:sp>
    </p:spTree>
    <p:extLst>
      <p:ext uri="{BB962C8B-B14F-4D97-AF65-F5344CB8AC3E}">
        <p14:creationId xmlns:p14="http://schemas.microsoft.com/office/powerpoint/2010/main" val="9482892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6B0AC2-B025-A989-29BA-1470A02C5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Server 2019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A260745-9B2D-414D-56A1-E59273CA80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4200" y="3189449"/>
            <a:ext cx="10515600" cy="3096410"/>
          </a:xfrm>
        </p:spPr>
        <p:txBody>
          <a:bodyPr>
            <a:normAutofit fontScale="92500" lnSpcReduction="10000"/>
          </a:bodyPr>
          <a:lstStyle/>
          <a:p>
            <a:r>
              <a:rPr lang="en-US" sz="3000" dirty="0"/>
              <a:t>Latest &amp; greatest features and security patches</a:t>
            </a:r>
          </a:p>
          <a:p>
            <a:pPr lvl="1"/>
            <a:r>
              <a:rPr lang="en-US" sz="2600" dirty="0"/>
              <a:t>E.g., Exchange Emergency Mitigation Service</a:t>
            </a:r>
          </a:p>
          <a:p>
            <a:r>
              <a:rPr lang="en-US" sz="3000" dirty="0"/>
              <a:t>MetaCache database for enhanced mailbox </a:t>
            </a:r>
            <a:r>
              <a:rPr lang="en-US" sz="3000"/>
              <a:t>access performance</a:t>
            </a:r>
          </a:p>
          <a:p>
            <a:r>
              <a:rPr lang="en-US" sz="3000" dirty="0"/>
              <a:t>The “basis” for upgrading smoother to the next version of Exchange</a:t>
            </a:r>
          </a:p>
          <a:p>
            <a:r>
              <a:rPr lang="en-US" sz="3000" dirty="0"/>
              <a:t>Supports Windows Server 2019 and Windows Server 2022</a:t>
            </a:r>
          </a:p>
          <a:p>
            <a:pPr lvl="1"/>
            <a:r>
              <a:rPr lang="en-US" dirty="0"/>
              <a:t>Consider Windows Server 2022 Core Edition</a:t>
            </a:r>
          </a:p>
          <a:p>
            <a:pPr marL="0" indent="0">
              <a:buNone/>
            </a:pPr>
            <a:endParaRPr lang="en-US" sz="2400" dirty="0"/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8505334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6B0AC2-B025-A989-29BA-1470A02C5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Server 2019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A260745-9B2D-414D-56A1-E59273CA80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sz="2800" dirty="0"/>
              <a:t>Disable legacy authentication </a:t>
            </a:r>
          </a:p>
          <a:p>
            <a:pPr lvl="1"/>
            <a:r>
              <a:rPr lang="en-US" dirty="0"/>
              <a:t>Basic authentication, Digest authentication, Windows authentication (NTLM and Kerberos) </a:t>
            </a:r>
          </a:p>
          <a:p>
            <a:pPr lvl="1"/>
            <a:r>
              <a:rPr lang="en-US" dirty="0"/>
              <a:t>Switch to Hybrid Modern Authentication</a:t>
            </a:r>
            <a:endParaRPr lang="en-US" sz="2800" dirty="0"/>
          </a:p>
          <a:p>
            <a:r>
              <a:rPr lang="en-US" sz="2800" dirty="0"/>
              <a:t>MAPI over HTTP is the default Outlook protocol</a:t>
            </a:r>
          </a:p>
          <a:p>
            <a:pPr lvl="1"/>
            <a:r>
              <a:rPr lang="en-US" dirty="0"/>
              <a:t>More secure and lightweight protocol than OutlookAnywhere</a:t>
            </a:r>
          </a:p>
          <a:p>
            <a:r>
              <a:rPr lang="en-US" dirty="0"/>
              <a:t>Use Exchange native data protection</a:t>
            </a:r>
          </a:p>
          <a:p>
            <a:pPr lvl="1"/>
            <a:r>
              <a:rPr lang="en-US" dirty="0"/>
              <a:t>No need for a legacy backup solution</a:t>
            </a:r>
          </a:p>
          <a:p>
            <a:pPr lvl="1"/>
            <a:r>
              <a:rPr lang="en-US" dirty="0"/>
              <a:t>High-Availability is handled at the application lay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8586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6B0AC2-B025-A989-29BA-1470A02C5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Server 2019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A260745-9B2D-414D-56A1-E59273CA80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existence with Exchange Server 2013 and 2016 is simple</a:t>
            </a:r>
          </a:p>
          <a:p>
            <a:r>
              <a:rPr lang="en-US" dirty="0"/>
              <a:t>Exchange Server 2010 (or older) requires a double-hop migration</a:t>
            </a:r>
          </a:p>
        </p:txBody>
      </p:sp>
      <p:grpSp>
        <p:nvGrpSpPr>
          <p:cNvPr id="12" name="Exchange 2010">
            <a:extLst>
              <a:ext uri="{FF2B5EF4-FFF2-40B4-BE49-F238E27FC236}">
                <a16:creationId xmlns:a16="http://schemas.microsoft.com/office/drawing/2014/main" id="{3877079C-EECE-9ACF-9B5A-4246338F7897}"/>
              </a:ext>
            </a:extLst>
          </p:cNvPr>
          <p:cNvGrpSpPr/>
          <p:nvPr/>
        </p:nvGrpSpPr>
        <p:grpSpPr>
          <a:xfrm>
            <a:off x="1639699" y="4979362"/>
            <a:ext cx="1923020" cy="1660853"/>
            <a:chOff x="1639699" y="4979362"/>
            <a:chExt cx="1923020" cy="1660853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9AEB2A7A-DD30-258D-03CB-D65EFD0B02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976044" y="4979362"/>
              <a:ext cx="1250330" cy="1282390"/>
            </a:xfrm>
            <a:prstGeom prst="rect">
              <a:avLst/>
            </a:prstGeom>
          </p:spPr>
        </p:pic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283BD80E-5E2F-EE46-AC03-D7227C881DDC}"/>
                </a:ext>
              </a:extLst>
            </p:cNvPr>
            <p:cNvSpPr txBox="1"/>
            <p:nvPr/>
          </p:nvSpPr>
          <p:spPr>
            <a:xfrm>
              <a:off x="1639699" y="6270883"/>
              <a:ext cx="19230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Exchange 2010</a:t>
              </a:r>
            </a:p>
          </p:txBody>
        </p:sp>
      </p:grpSp>
      <p:grpSp>
        <p:nvGrpSpPr>
          <p:cNvPr id="17" name="Exchange 2016">
            <a:extLst>
              <a:ext uri="{FF2B5EF4-FFF2-40B4-BE49-F238E27FC236}">
                <a16:creationId xmlns:a16="http://schemas.microsoft.com/office/drawing/2014/main" id="{1B822CC4-B4E4-6B72-39AD-D5B0262DD13C}"/>
              </a:ext>
            </a:extLst>
          </p:cNvPr>
          <p:cNvGrpSpPr/>
          <p:nvPr/>
        </p:nvGrpSpPr>
        <p:grpSpPr>
          <a:xfrm>
            <a:off x="4096362" y="4972507"/>
            <a:ext cx="1923020" cy="1658577"/>
            <a:chOff x="4096362" y="4972507"/>
            <a:chExt cx="1923020" cy="1658577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49DF100B-A91C-B829-D524-C81249CFC5E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84041" y="4972507"/>
              <a:ext cx="1347663" cy="1300652"/>
            </a:xfrm>
            <a:prstGeom prst="rect">
              <a:avLst/>
            </a:prstGeom>
          </p:spPr>
        </p:pic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18A4D900-F647-03C4-250A-9904EC0F8750}"/>
                </a:ext>
              </a:extLst>
            </p:cNvPr>
            <p:cNvSpPr txBox="1"/>
            <p:nvPr/>
          </p:nvSpPr>
          <p:spPr>
            <a:xfrm>
              <a:off x="4096362" y="6261752"/>
              <a:ext cx="19230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Exchange 2016</a:t>
              </a:r>
            </a:p>
          </p:txBody>
        </p:sp>
      </p:grpSp>
      <p:grpSp>
        <p:nvGrpSpPr>
          <p:cNvPr id="18" name="Exchange 2019">
            <a:extLst>
              <a:ext uri="{FF2B5EF4-FFF2-40B4-BE49-F238E27FC236}">
                <a16:creationId xmlns:a16="http://schemas.microsoft.com/office/drawing/2014/main" id="{5FDEF2EE-7486-4370-154A-0BD2D09FDAD8}"/>
              </a:ext>
            </a:extLst>
          </p:cNvPr>
          <p:cNvGrpSpPr/>
          <p:nvPr/>
        </p:nvGrpSpPr>
        <p:grpSpPr>
          <a:xfrm>
            <a:off x="6601692" y="4957872"/>
            <a:ext cx="1923020" cy="1682343"/>
            <a:chOff x="6601692" y="4957872"/>
            <a:chExt cx="1923020" cy="1682343"/>
          </a:xfrm>
        </p:grpSpPr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A562E604-AFE7-E30F-56E6-406F86F7251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889371" y="4957872"/>
              <a:ext cx="1347663" cy="1314793"/>
            </a:xfrm>
            <a:prstGeom prst="rect">
              <a:avLst/>
            </a:prstGeom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15D214A0-DC8E-D32F-A842-A2BF09C59929}"/>
                </a:ext>
              </a:extLst>
            </p:cNvPr>
            <p:cNvSpPr txBox="1"/>
            <p:nvPr/>
          </p:nvSpPr>
          <p:spPr>
            <a:xfrm>
              <a:off x="6601692" y="6270883"/>
              <a:ext cx="19230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Exchange 2019</a:t>
              </a:r>
            </a:p>
          </p:txBody>
        </p:sp>
      </p:grpSp>
      <p:grpSp>
        <p:nvGrpSpPr>
          <p:cNvPr id="6" name="Hop 1">
            <a:extLst>
              <a:ext uri="{FF2B5EF4-FFF2-40B4-BE49-F238E27FC236}">
                <a16:creationId xmlns:a16="http://schemas.microsoft.com/office/drawing/2014/main" id="{589F1097-4CC4-9114-5FDA-FACB146D7CD1}"/>
              </a:ext>
            </a:extLst>
          </p:cNvPr>
          <p:cNvGrpSpPr/>
          <p:nvPr/>
        </p:nvGrpSpPr>
        <p:grpSpPr>
          <a:xfrm>
            <a:off x="2843697" y="5183757"/>
            <a:ext cx="1923020" cy="439076"/>
            <a:chOff x="2843697" y="5183757"/>
            <a:chExt cx="1923020" cy="439076"/>
          </a:xfrm>
        </p:grpSpPr>
        <p:cxnSp>
          <p:nvCxnSpPr>
            <p:cNvPr id="11" name="Gerade Verbindung mit Pfeil 10">
              <a:extLst>
                <a:ext uri="{FF2B5EF4-FFF2-40B4-BE49-F238E27FC236}">
                  <a16:creationId xmlns:a16="http://schemas.microsoft.com/office/drawing/2014/main" id="{4B187DBF-C9C8-A6C5-5691-91492D8B1BD2}"/>
                </a:ext>
              </a:extLst>
            </p:cNvPr>
            <p:cNvCxnSpPr>
              <a:cxnSpLocks/>
              <a:stCxn id="9" idx="3"/>
              <a:endCxn id="7" idx="1"/>
            </p:cNvCxnSpPr>
            <p:nvPr/>
          </p:nvCxnSpPr>
          <p:spPr>
            <a:xfrm>
              <a:off x="3226374" y="5620557"/>
              <a:ext cx="1157667" cy="2276"/>
            </a:xfrm>
            <a:prstGeom prst="straightConnector1">
              <a:avLst/>
            </a:prstGeom>
            <a:ln w="571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21091517-4936-ABFD-1E92-44CCC9397272}"/>
                </a:ext>
              </a:extLst>
            </p:cNvPr>
            <p:cNvSpPr txBox="1"/>
            <p:nvPr/>
          </p:nvSpPr>
          <p:spPr>
            <a:xfrm>
              <a:off x="2843697" y="5183757"/>
              <a:ext cx="19230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Hop 1</a:t>
              </a:r>
            </a:p>
          </p:txBody>
        </p:sp>
      </p:grpSp>
      <p:grpSp>
        <p:nvGrpSpPr>
          <p:cNvPr id="8" name="Hop 2">
            <a:extLst>
              <a:ext uri="{FF2B5EF4-FFF2-40B4-BE49-F238E27FC236}">
                <a16:creationId xmlns:a16="http://schemas.microsoft.com/office/drawing/2014/main" id="{A5BF92E6-4264-C5F2-C629-1E9E1A24CED5}"/>
              </a:ext>
            </a:extLst>
          </p:cNvPr>
          <p:cNvGrpSpPr/>
          <p:nvPr/>
        </p:nvGrpSpPr>
        <p:grpSpPr>
          <a:xfrm>
            <a:off x="5349028" y="5178469"/>
            <a:ext cx="1923020" cy="444364"/>
            <a:chOff x="5349028" y="5178469"/>
            <a:chExt cx="1923020" cy="444364"/>
          </a:xfrm>
        </p:grpSpPr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9F8650F6-B44B-A6A1-934C-A39D962A1424}"/>
                </a:ext>
              </a:extLst>
            </p:cNvPr>
            <p:cNvCxnSpPr>
              <a:cxnSpLocks/>
              <a:stCxn id="7" idx="3"/>
              <a:endCxn id="4" idx="1"/>
            </p:cNvCxnSpPr>
            <p:nvPr/>
          </p:nvCxnSpPr>
          <p:spPr>
            <a:xfrm flipV="1">
              <a:off x="5731704" y="5615269"/>
              <a:ext cx="1157667" cy="7564"/>
            </a:xfrm>
            <a:prstGeom prst="straightConnector1">
              <a:avLst/>
            </a:prstGeom>
            <a:ln w="571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A3440FF0-534A-EFCB-142B-5AA17B78DAB0}"/>
                </a:ext>
              </a:extLst>
            </p:cNvPr>
            <p:cNvSpPr txBox="1"/>
            <p:nvPr/>
          </p:nvSpPr>
          <p:spPr>
            <a:xfrm>
              <a:off x="5349028" y="5178469"/>
              <a:ext cx="19230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Hop 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54439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6B0AC2-B025-A989-29BA-1470A02C5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Hybrid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A260745-9B2D-414D-56A1-E59273CA80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change Server 2019 preferred edition for hybrid setups </a:t>
            </a:r>
            <a:br>
              <a:rPr lang="en-US" dirty="0"/>
            </a:br>
            <a:r>
              <a:rPr lang="en-US" dirty="0"/>
              <a:t>(since April 2022 - 2022 H1 CU)</a:t>
            </a:r>
          </a:p>
          <a:p>
            <a:r>
              <a:rPr lang="en-US" dirty="0"/>
              <a:t>Hybrid Configuration Wizards supports Exchange Server 2019 coexistence licensing</a:t>
            </a:r>
          </a:p>
          <a:p>
            <a:r>
              <a:rPr lang="en-US" dirty="0"/>
              <a:t>Updated Exchange Server 2019 Management Role supports decommissioning of the last Exchange Serv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9726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D024E0-DD0E-1256-7F82-596F81FEA3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Server Life-Cycle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D7272EA3-4152-D38C-E441-0198E55A7DB2}"/>
              </a:ext>
            </a:extLst>
          </p:cNvPr>
          <p:cNvCxnSpPr/>
          <p:nvPr/>
        </p:nvCxnSpPr>
        <p:spPr>
          <a:xfrm>
            <a:off x="2360031" y="3323592"/>
            <a:ext cx="0" cy="2698811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6B39D818-969D-0C81-1351-8CF840A6D15B}"/>
              </a:ext>
            </a:extLst>
          </p:cNvPr>
          <p:cNvCxnSpPr>
            <a:cxnSpLocks/>
          </p:cNvCxnSpPr>
          <p:nvPr/>
        </p:nvCxnSpPr>
        <p:spPr>
          <a:xfrm>
            <a:off x="3932080" y="3323592"/>
            <a:ext cx="0" cy="2698811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B8D71395-D385-3D3B-78C0-37C4D06332A9}"/>
              </a:ext>
            </a:extLst>
          </p:cNvPr>
          <p:cNvCxnSpPr>
            <a:cxnSpLocks/>
          </p:cNvCxnSpPr>
          <p:nvPr/>
        </p:nvCxnSpPr>
        <p:spPr>
          <a:xfrm>
            <a:off x="10220277" y="3323592"/>
            <a:ext cx="0" cy="2698811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1DC6A9BD-0F2C-6146-31D2-7B1E6E823D23}"/>
              </a:ext>
            </a:extLst>
          </p:cNvPr>
          <p:cNvCxnSpPr>
            <a:cxnSpLocks/>
          </p:cNvCxnSpPr>
          <p:nvPr/>
        </p:nvCxnSpPr>
        <p:spPr>
          <a:xfrm>
            <a:off x="5504129" y="3323592"/>
            <a:ext cx="0" cy="2698811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089BF39-4AB3-8E54-B0DD-28295435839A}"/>
              </a:ext>
            </a:extLst>
          </p:cNvPr>
          <p:cNvCxnSpPr>
            <a:cxnSpLocks/>
          </p:cNvCxnSpPr>
          <p:nvPr/>
        </p:nvCxnSpPr>
        <p:spPr>
          <a:xfrm>
            <a:off x="8648227" y="3323592"/>
            <a:ext cx="0" cy="2698811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B0E99CD-51DD-D66D-69CF-D6BE67D4A922}"/>
              </a:ext>
            </a:extLst>
          </p:cNvPr>
          <p:cNvCxnSpPr>
            <a:cxnSpLocks/>
          </p:cNvCxnSpPr>
          <p:nvPr/>
        </p:nvCxnSpPr>
        <p:spPr>
          <a:xfrm>
            <a:off x="7076178" y="3323592"/>
            <a:ext cx="0" cy="2698811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" name="2020">
            <a:extLst>
              <a:ext uri="{FF2B5EF4-FFF2-40B4-BE49-F238E27FC236}">
                <a16:creationId xmlns:a16="http://schemas.microsoft.com/office/drawing/2014/main" id="{2526A008-98D6-9FD7-5C3B-825A917F8025}"/>
              </a:ext>
            </a:extLst>
          </p:cNvPr>
          <p:cNvSpPr txBox="1"/>
          <p:nvPr/>
        </p:nvSpPr>
        <p:spPr>
          <a:xfrm>
            <a:off x="584200" y="2995118"/>
            <a:ext cx="17758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2020</a:t>
            </a:r>
          </a:p>
        </p:txBody>
      </p:sp>
      <p:sp>
        <p:nvSpPr>
          <p:cNvPr id="10" name="2021">
            <a:extLst>
              <a:ext uri="{FF2B5EF4-FFF2-40B4-BE49-F238E27FC236}">
                <a16:creationId xmlns:a16="http://schemas.microsoft.com/office/drawing/2014/main" id="{9408D6D9-C225-78CB-87B5-BA34295C2C1B}"/>
              </a:ext>
            </a:extLst>
          </p:cNvPr>
          <p:cNvSpPr txBox="1"/>
          <p:nvPr/>
        </p:nvSpPr>
        <p:spPr>
          <a:xfrm>
            <a:off x="2360032" y="2995118"/>
            <a:ext cx="15720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2021</a:t>
            </a:r>
            <a:endParaRPr lang="en-US" dirty="0"/>
          </a:p>
        </p:txBody>
      </p:sp>
      <p:sp>
        <p:nvSpPr>
          <p:cNvPr id="12" name="2022">
            <a:extLst>
              <a:ext uri="{FF2B5EF4-FFF2-40B4-BE49-F238E27FC236}">
                <a16:creationId xmlns:a16="http://schemas.microsoft.com/office/drawing/2014/main" id="{98A34E74-7DC5-9135-160F-69EA304E8EAF}"/>
              </a:ext>
            </a:extLst>
          </p:cNvPr>
          <p:cNvSpPr txBox="1"/>
          <p:nvPr/>
        </p:nvSpPr>
        <p:spPr>
          <a:xfrm>
            <a:off x="3932078" y="2995118"/>
            <a:ext cx="15720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2022</a:t>
            </a:r>
            <a:endParaRPr lang="en-US" dirty="0"/>
          </a:p>
        </p:txBody>
      </p:sp>
      <p:sp>
        <p:nvSpPr>
          <p:cNvPr id="13" name="2023">
            <a:extLst>
              <a:ext uri="{FF2B5EF4-FFF2-40B4-BE49-F238E27FC236}">
                <a16:creationId xmlns:a16="http://schemas.microsoft.com/office/drawing/2014/main" id="{8BDF8194-4BF3-EFA3-012B-20796327A0CB}"/>
              </a:ext>
            </a:extLst>
          </p:cNvPr>
          <p:cNvSpPr txBox="1"/>
          <p:nvPr/>
        </p:nvSpPr>
        <p:spPr>
          <a:xfrm>
            <a:off x="5504125" y="2954260"/>
            <a:ext cx="15720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2023</a:t>
            </a:r>
            <a:endParaRPr lang="en-US" dirty="0"/>
          </a:p>
        </p:txBody>
      </p:sp>
      <p:sp>
        <p:nvSpPr>
          <p:cNvPr id="14" name="2024">
            <a:extLst>
              <a:ext uri="{FF2B5EF4-FFF2-40B4-BE49-F238E27FC236}">
                <a16:creationId xmlns:a16="http://schemas.microsoft.com/office/drawing/2014/main" id="{8BBEDBFD-C3D8-48D2-1E39-5CBDFD89451F}"/>
              </a:ext>
            </a:extLst>
          </p:cNvPr>
          <p:cNvSpPr txBox="1"/>
          <p:nvPr/>
        </p:nvSpPr>
        <p:spPr>
          <a:xfrm>
            <a:off x="7076171" y="2954260"/>
            <a:ext cx="15720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2024</a:t>
            </a:r>
            <a:endParaRPr lang="en-US" dirty="0"/>
          </a:p>
        </p:txBody>
      </p:sp>
      <p:sp>
        <p:nvSpPr>
          <p:cNvPr id="15" name="2025">
            <a:extLst>
              <a:ext uri="{FF2B5EF4-FFF2-40B4-BE49-F238E27FC236}">
                <a16:creationId xmlns:a16="http://schemas.microsoft.com/office/drawing/2014/main" id="{DA42A3E4-09A1-7DC1-0706-50CF5810A5BA}"/>
              </a:ext>
            </a:extLst>
          </p:cNvPr>
          <p:cNvSpPr txBox="1"/>
          <p:nvPr/>
        </p:nvSpPr>
        <p:spPr>
          <a:xfrm>
            <a:off x="8648213" y="2954260"/>
            <a:ext cx="15720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2025</a:t>
            </a:r>
            <a:endParaRPr lang="en-US" dirty="0"/>
          </a:p>
        </p:txBody>
      </p:sp>
      <p:sp>
        <p:nvSpPr>
          <p:cNvPr id="16" name="MSED 2019">
            <a:extLst>
              <a:ext uri="{FF2B5EF4-FFF2-40B4-BE49-F238E27FC236}">
                <a16:creationId xmlns:a16="http://schemas.microsoft.com/office/drawing/2014/main" id="{0EFBD153-5837-3B7A-EB07-93A0FFE87298}"/>
              </a:ext>
            </a:extLst>
          </p:cNvPr>
          <p:cNvSpPr/>
          <p:nvPr/>
        </p:nvSpPr>
        <p:spPr>
          <a:xfrm>
            <a:off x="7169510" y="4982521"/>
            <a:ext cx="1541772" cy="711714"/>
          </a:xfrm>
          <a:prstGeom prst="wedgeRoundRectCallout">
            <a:avLst>
              <a:gd name="adj1" fmla="val -49094"/>
              <a:gd name="adj2" fmla="val -153749"/>
              <a:gd name="adj3" fmla="val 16667"/>
            </a:avLst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b="1" i="1" dirty="0"/>
              <a:t>Mainstream support end date</a:t>
            </a:r>
            <a:br>
              <a:rPr lang="en-US" sz="1050" b="1" i="1" dirty="0"/>
            </a:br>
            <a:r>
              <a:rPr lang="en-US" sz="1050" b="1" i="1" dirty="0"/>
              <a:t>January 6 2024</a:t>
            </a:r>
          </a:p>
        </p:txBody>
      </p:sp>
      <p:grpSp>
        <p:nvGrpSpPr>
          <p:cNvPr id="22" name="Exchange 2013">
            <a:extLst>
              <a:ext uri="{FF2B5EF4-FFF2-40B4-BE49-F238E27FC236}">
                <a16:creationId xmlns:a16="http://schemas.microsoft.com/office/drawing/2014/main" id="{0111A3C4-9E8A-C789-FA90-D921C25CD54D}"/>
              </a:ext>
            </a:extLst>
          </p:cNvPr>
          <p:cNvGrpSpPr/>
          <p:nvPr/>
        </p:nvGrpSpPr>
        <p:grpSpPr>
          <a:xfrm>
            <a:off x="708784" y="5227044"/>
            <a:ext cx="5435229" cy="396725"/>
            <a:chOff x="0" y="4740158"/>
            <a:chExt cx="5926795" cy="396725"/>
          </a:xfrm>
        </p:grpSpPr>
        <p:cxnSp>
          <p:nvCxnSpPr>
            <p:cNvPr id="23" name="Gerade Verbindung mit Pfeil 22">
              <a:extLst>
                <a:ext uri="{FF2B5EF4-FFF2-40B4-BE49-F238E27FC236}">
                  <a16:creationId xmlns:a16="http://schemas.microsoft.com/office/drawing/2014/main" id="{E7086130-38FC-780C-7F77-E1ACE7685F74}"/>
                </a:ext>
              </a:extLst>
            </p:cNvPr>
            <p:cNvCxnSpPr/>
            <p:nvPr/>
          </p:nvCxnSpPr>
          <p:spPr>
            <a:xfrm>
              <a:off x="0" y="4864963"/>
              <a:ext cx="5771036" cy="0"/>
            </a:xfrm>
            <a:prstGeom prst="straightConnector1">
              <a:avLst/>
            </a:prstGeom>
            <a:ln w="28575" cap="flat" cmpd="sng" algn="ctr">
              <a:solidFill>
                <a:schemeClr val="accent6">
                  <a:lumMod val="75000"/>
                </a:schemeClr>
              </a:solidFill>
              <a:prstDash val="dash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73B08F5E-D9AF-3B31-6A20-DB450ED47C91}"/>
                </a:ext>
              </a:extLst>
            </p:cNvPr>
            <p:cNvSpPr txBox="1"/>
            <p:nvPr/>
          </p:nvSpPr>
          <p:spPr>
            <a:xfrm>
              <a:off x="3635284" y="4829106"/>
              <a:ext cx="229151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>
                  <a:solidFill>
                    <a:schemeClr val="accent6">
                      <a:lumMod val="75000"/>
                    </a:schemeClr>
                  </a:solidFill>
                </a:rPr>
                <a:t>Exchange Server 2013</a:t>
              </a:r>
              <a:endParaRPr lang="en-US" sz="140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2D09A453-273A-19BC-BF61-79C9808F9F24}"/>
                </a:ext>
              </a:extLst>
            </p:cNvPr>
            <p:cNvCxnSpPr>
              <a:cxnSpLocks/>
            </p:cNvCxnSpPr>
            <p:nvPr/>
          </p:nvCxnSpPr>
          <p:spPr>
            <a:xfrm>
              <a:off x="5771035" y="4740158"/>
              <a:ext cx="0" cy="249610"/>
            </a:xfrm>
            <a:prstGeom prst="line">
              <a:avLst/>
            </a:prstGeom>
            <a:ln w="3810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Exchange 2016">
            <a:extLst>
              <a:ext uri="{FF2B5EF4-FFF2-40B4-BE49-F238E27FC236}">
                <a16:creationId xmlns:a16="http://schemas.microsoft.com/office/drawing/2014/main" id="{572F338C-D46C-4E22-BEE3-F17ADC05FF13}"/>
              </a:ext>
            </a:extLst>
          </p:cNvPr>
          <p:cNvGrpSpPr/>
          <p:nvPr/>
        </p:nvGrpSpPr>
        <p:grpSpPr>
          <a:xfrm>
            <a:off x="708785" y="4667521"/>
            <a:ext cx="9132304" cy="381251"/>
            <a:chOff x="0" y="4180635"/>
            <a:chExt cx="10065533" cy="381251"/>
          </a:xfrm>
        </p:grpSpPr>
        <p:cxnSp>
          <p:nvCxnSpPr>
            <p:cNvPr id="27" name="Gerade Verbindung mit Pfeil 26">
              <a:extLst>
                <a:ext uri="{FF2B5EF4-FFF2-40B4-BE49-F238E27FC236}">
                  <a16:creationId xmlns:a16="http://schemas.microsoft.com/office/drawing/2014/main" id="{18BF4B90-4D78-4304-5523-AF68EFA3C592}"/>
                </a:ext>
              </a:extLst>
            </p:cNvPr>
            <p:cNvCxnSpPr>
              <a:cxnSpLocks/>
            </p:cNvCxnSpPr>
            <p:nvPr/>
          </p:nvCxnSpPr>
          <p:spPr>
            <a:xfrm>
              <a:off x="1180730" y="4305638"/>
              <a:ext cx="8884803" cy="0"/>
            </a:xfrm>
            <a:prstGeom prst="straightConnector1">
              <a:avLst/>
            </a:prstGeom>
            <a:ln w="28575" cap="flat" cmpd="sng" algn="ctr">
              <a:solidFill>
                <a:srgbClr val="7030A0"/>
              </a:solidFill>
              <a:prstDash val="dash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28" name="Gerade Verbindung mit Pfeil 27">
              <a:extLst>
                <a:ext uri="{FF2B5EF4-FFF2-40B4-BE49-F238E27FC236}">
                  <a16:creationId xmlns:a16="http://schemas.microsoft.com/office/drawing/2014/main" id="{10CC8137-26B8-39C1-0331-C99AFE2BEB9E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305440"/>
              <a:ext cx="1168274" cy="0"/>
            </a:xfrm>
            <a:prstGeom prst="straightConnector1">
              <a:avLst/>
            </a:prstGeom>
            <a:ln w="28575" cap="flat" cmpd="sng" algn="ctr">
              <a:solidFill>
                <a:srgbClr val="7030A0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68766F19-6142-4B1B-7247-058F9855D14E}"/>
                </a:ext>
              </a:extLst>
            </p:cNvPr>
            <p:cNvSpPr txBox="1"/>
            <p:nvPr/>
          </p:nvSpPr>
          <p:spPr>
            <a:xfrm>
              <a:off x="3674452" y="4254109"/>
              <a:ext cx="229151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>
                  <a:solidFill>
                    <a:srgbClr val="7030A0"/>
                  </a:solidFill>
                </a:rPr>
                <a:t>Exchange Server 2016</a:t>
              </a:r>
              <a:endParaRPr lang="en-US" sz="1400" b="1" dirty="0">
                <a:solidFill>
                  <a:srgbClr val="7030A0"/>
                </a:solidFill>
              </a:endParaRPr>
            </a:p>
          </p:txBody>
        </p: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82E20262-BA20-AE7A-A71C-61A107B8525F}"/>
                </a:ext>
              </a:extLst>
            </p:cNvPr>
            <p:cNvCxnSpPr>
              <a:cxnSpLocks/>
            </p:cNvCxnSpPr>
            <p:nvPr/>
          </p:nvCxnSpPr>
          <p:spPr>
            <a:xfrm>
              <a:off x="10065533" y="4180635"/>
              <a:ext cx="0" cy="249610"/>
            </a:xfrm>
            <a:prstGeom prst="line">
              <a:avLst/>
            </a:prstGeom>
            <a:ln w="3810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72B85B8D-2CF8-F0E9-1E96-1F4D4DA22C64}"/>
                </a:ext>
              </a:extLst>
            </p:cNvPr>
            <p:cNvCxnSpPr>
              <a:cxnSpLocks/>
            </p:cNvCxnSpPr>
            <p:nvPr/>
          </p:nvCxnSpPr>
          <p:spPr>
            <a:xfrm>
              <a:off x="1168274" y="4180635"/>
              <a:ext cx="0" cy="249610"/>
            </a:xfrm>
            <a:prstGeom prst="line">
              <a:avLst/>
            </a:prstGeom>
            <a:ln w="3810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Exchange 2019">
            <a:extLst>
              <a:ext uri="{FF2B5EF4-FFF2-40B4-BE49-F238E27FC236}">
                <a16:creationId xmlns:a16="http://schemas.microsoft.com/office/drawing/2014/main" id="{FC3E363E-1E0F-6195-2456-EFADA46CBA9D}"/>
              </a:ext>
            </a:extLst>
          </p:cNvPr>
          <p:cNvGrpSpPr/>
          <p:nvPr/>
        </p:nvGrpSpPr>
        <p:grpSpPr>
          <a:xfrm>
            <a:off x="708785" y="4109970"/>
            <a:ext cx="9132304" cy="414624"/>
            <a:chOff x="0" y="3623084"/>
            <a:chExt cx="10065533" cy="414624"/>
          </a:xfrm>
        </p:grpSpPr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27E65C2E-7207-FA74-361B-6DC8448C8C1F}"/>
                </a:ext>
              </a:extLst>
            </p:cNvPr>
            <p:cNvCxnSpPr>
              <a:cxnSpLocks/>
            </p:cNvCxnSpPr>
            <p:nvPr/>
          </p:nvCxnSpPr>
          <p:spPr>
            <a:xfrm>
              <a:off x="7111014" y="3741479"/>
              <a:ext cx="2954519" cy="2959"/>
            </a:xfrm>
            <a:prstGeom prst="straightConnector1">
              <a:avLst/>
            </a:prstGeom>
            <a:ln w="28575" cap="flat" cmpd="sng" algn="ctr">
              <a:solidFill>
                <a:schemeClr val="accent5">
                  <a:lumMod val="75000"/>
                </a:schemeClr>
              </a:solidFill>
              <a:prstDash val="dash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CE0843A8-9257-3BB4-1A28-CF4EF2E815A1}"/>
                </a:ext>
              </a:extLst>
            </p:cNvPr>
            <p:cNvSpPr txBox="1"/>
            <p:nvPr/>
          </p:nvSpPr>
          <p:spPr>
            <a:xfrm>
              <a:off x="3674452" y="3729931"/>
              <a:ext cx="229151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>
                  <a:solidFill>
                    <a:srgbClr val="0070C0"/>
                  </a:solidFill>
                </a:rPr>
                <a:t>Exchange Server 2019</a:t>
              </a:r>
              <a:endParaRPr lang="en-US" sz="1400" b="1" dirty="0">
                <a:solidFill>
                  <a:srgbClr val="0070C0"/>
                </a:solidFill>
              </a:endParaRPr>
            </a:p>
          </p:txBody>
        </p: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E6C48787-4977-7DBC-7DA5-73EFCFC0748E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745918"/>
              <a:ext cx="7111014" cy="0"/>
            </a:xfrm>
            <a:prstGeom prst="straightConnector1">
              <a:avLst/>
            </a:prstGeom>
            <a:ln w="28575" cap="flat" cmpd="sng" algn="ctr">
              <a:solidFill>
                <a:schemeClr val="accent5">
                  <a:lumMod val="75000"/>
                </a:schemeClr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62FDEAC3-0A55-4F9C-B984-8F276D248C44}"/>
                </a:ext>
              </a:extLst>
            </p:cNvPr>
            <p:cNvCxnSpPr>
              <a:cxnSpLocks/>
            </p:cNvCxnSpPr>
            <p:nvPr/>
          </p:nvCxnSpPr>
          <p:spPr>
            <a:xfrm>
              <a:off x="10065533" y="3623084"/>
              <a:ext cx="0" cy="249610"/>
            </a:xfrm>
            <a:prstGeom prst="line">
              <a:avLst/>
            </a:prstGeom>
            <a:ln w="38100"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E6B2758E-8E07-49FE-588E-91BF6348E188}"/>
                </a:ext>
              </a:extLst>
            </p:cNvPr>
            <p:cNvCxnSpPr>
              <a:cxnSpLocks/>
            </p:cNvCxnSpPr>
            <p:nvPr/>
          </p:nvCxnSpPr>
          <p:spPr>
            <a:xfrm>
              <a:off x="7111014" y="3633452"/>
              <a:ext cx="0" cy="249610"/>
            </a:xfrm>
            <a:prstGeom prst="line">
              <a:avLst/>
            </a:prstGeom>
            <a:ln w="38100"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EOL 2013">
            <a:extLst>
              <a:ext uri="{FF2B5EF4-FFF2-40B4-BE49-F238E27FC236}">
                <a16:creationId xmlns:a16="http://schemas.microsoft.com/office/drawing/2014/main" id="{E7853184-C42E-F873-8561-7230DDA14CFE}"/>
              </a:ext>
            </a:extLst>
          </p:cNvPr>
          <p:cNvGrpSpPr/>
          <p:nvPr/>
        </p:nvGrpSpPr>
        <p:grpSpPr>
          <a:xfrm>
            <a:off x="4975181" y="2757232"/>
            <a:ext cx="2129042" cy="4083049"/>
            <a:chOff x="4745043" y="2604537"/>
            <a:chExt cx="2129042" cy="4083049"/>
          </a:xfrm>
        </p:grpSpPr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50C80B2A-3508-0F10-C3EA-0B606CE1C81D}"/>
                </a:ext>
              </a:extLst>
            </p:cNvPr>
            <p:cNvCxnSpPr>
              <a:cxnSpLocks/>
              <a:stCxn id="41" idx="0"/>
            </p:cNvCxnSpPr>
            <p:nvPr/>
          </p:nvCxnSpPr>
          <p:spPr>
            <a:xfrm flipH="1" flipV="1">
              <a:off x="5800553" y="2604537"/>
              <a:ext cx="9011" cy="3436718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C7637D99-2DC1-7B67-98F5-66516D7CA9D2}"/>
                </a:ext>
              </a:extLst>
            </p:cNvPr>
            <p:cNvSpPr txBox="1"/>
            <p:nvPr/>
          </p:nvSpPr>
          <p:spPr>
            <a:xfrm>
              <a:off x="4745043" y="6041255"/>
              <a:ext cx="212904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/>
                <a:t>Extended support end date</a:t>
              </a:r>
              <a:br>
                <a:rPr lang="de-DE" sz="1200" b="1" dirty="0"/>
              </a:br>
              <a:r>
                <a:rPr lang="de-DE" sz="1200" b="1" dirty="0"/>
                <a:t>Exchange Server 2013</a:t>
              </a:r>
              <a:br>
                <a:rPr lang="de-DE" sz="1200" b="1" dirty="0"/>
              </a:br>
              <a:r>
                <a:rPr lang="de-DE" sz="1200" b="1" dirty="0"/>
                <a:t>April 11, 2023</a:t>
              </a:r>
            </a:p>
          </p:txBody>
        </p:sp>
      </p:grpSp>
      <p:grpSp>
        <p:nvGrpSpPr>
          <p:cNvPr id="42" name="EOL 2016-2019">
            <a:extLst>
              <a:ext uri="{FF2B5EF4-FFF2-40B4-BE49-F238E27FC236}">
                <a16:creationId xmlns:a16="http://schemas.microsoft.com/office/drawing/2014/main" id="{755F9F83-611C-A609-D39C-B3A214DFB5E0}"/>
              </a:ext>
            </a:extLst>
          </p:cNvPr>
          <p:cNvGrpSpPr/>
          <p:nvPr/>
        </p:nvGrpSpPr>
        <p:grpSpPr>
          <a:xfrm>
            <a:off x="8776569" y="2757232"/>
            <a:ext cx="2129042" cy="4132480"/>
            <a:chOff x="9001012" y="2606731"/>
            <a:chExt cx="2129042" cy="4132480"/>
          </a:xfrm>
        </p:grpSpPr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AA3A03C8-792B-47EC-1E5E-7D6C6D1F6CD6}"/>
                </a:ext>
              </a:extLst>
            </p:cNvPr>
            <p:cNvCxnSpPr>
              <a:cxnSpLocks/>
              <a:stCxn id="44" idx="0"/>
            </p:cNvCxnSpPr>
            <p:nvPr/>
          </p:nvCxnSpPr>
          <p:spPr>
            <a:xfrm flipV="1">
              <a:off x="10065533" y="2606731"/>
              <a:ext cx="0" cy="3486149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751903D2-4848-1D34-A2E2-D419251D8939}"/>
                </a:ext>
              </a:extLst>
            </p:cNvPr>
            <p:cNvSpPr txBox="1"/>
            <p:nvPr/>
          </p:nvSpPr>
          <p:spPr>
            <a:xfrm>
              <a:off x="9001012" y="6092880"/>
              <a:ext cx="212904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/>
                <a:t>Extended support end date</a:t>
              </a:r>
              <a:br>
                <a:rPr lang="de-DE" sz="1200" b="1" dirty="0"/>
              </a:br>
              <a:r>
                <a:rPr lang="de-DE" sz="1200" b="1" dirty="0"/>
                <a:t>Exchange Server 2016 &amp; 2019</a:t>
              </a:r>
              <a:br>
                <a:rPr lang="de-DE" sz="1200" b="1" dirty="0"/>
              </a:br>
              <a:r>
                <a:rPr lang="de-DE" sz="1200" b="1" dirty="0"/>
                <a:t>October 14, 2025</a:t>
              </a:r>
            </a:p>
          </p:txBody>
        </p:sp>
      </p:grpSp>
      <p:grpSp>
        <p:nvGrpSpPr>
          <p:cNvPr id="45" name="EOMS 2016">
            <a:extLst>
              <a:ext uri="{FF2B5EF4-FFF2-40B4-BE49-F238E27FC236}">
                <a16:creationId xmlns:a16="http://schemas.microsoft.com/office/drawing/2014/main" id="{60E899F8-B2FB-D3E5-5711-76B2F9EE55F1}"/>
              </a:ext>
            </a:extLst>
          </p:cNvPr>
          <p:cNvGrpSpPr/>
          <p:nvPr/>
        </p:nvGrpSpPr>
        <p:grpSpPr>
          <a:xfrm>
            <a:off x="604167" y="2757232"/>
            <a:ext cx="2341507" cy="4100768"/>
            <a:chOff x="4603018" y="2604537"/>
            <a:chExt cx="2341507" cy="4100768"/>
          </a:xfrm>
        </p:grpSpPr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0B16BC30-ABB5-A013-CE29-DEFF51EB52F8}"/>
                </a:ext>
              </a:extLst>
            </p:cNvPr>
            <p:cNvCxnSpPr>
              <a:cxnSpLocks/>
              <a:stCxn id="47" idx="0"/>
            </p:cNvCxnSpPr>
            <p:nvPr/>
          </p:nvCxnSpPr>
          <p:spPr>
            <a:xfrm flipH="1" flipV="1">
              <a:off x="5749166" y="2604537"/>
              <a:ext cx="24606" cy="3454437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5B438199-8F91-E2F4-7FEB-1D13E551CE96}"/>
                </a:ext>
              </a:extLst>
            </p:cNvPr>
            <p:cNvSpPr txBox="1"/>
            <p:nvPr/>
          </p:nvSpPr>
          <p:spPr>
            <a:xfrm>
              <a:off x="4603018" y="6058974"/>
              <a:ext cx="234150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/>
                <a:t>Mainstream support end date</a:t>
              </a:r>
              <a:br>
                <a:rPr lang="de-DE" sz="1200" b="1" dirty="0"/>
              </a:br>
              <a:r>
                <a:rPr lang="de-DE" sz="1200" b="1" dirty="0"/>
                <a:t>Exchange Server 2016</a:t>
              </a:r>
              <a:br>
                <a:rPr lang="de-DE" sz="1200" b="1" dirty="0"/>
              </a:br>
              <a:r>
                <a:rPr lang="de-DE" sz="1200" b="1" dirty="0"/>
                <a:t>October 13, 2020</a:t>
              </a:r>
            </a:p>
          </p:txBody>
        </p:sp>
      </p:grpSp>
      <p:grpSp>
        <p:nvGrpSpPr>
          <p:cNvPr id="17" name="Today">
            <a:extLst>
              <a:ext uri="{FF2B5EF4-FFF2-40B4-BE49-F238E27FC236}">
                <a16:creationId xmlns:a16="http://schemas.microsoft.com/office/drawing/2014/main" id="{30642AEB-CD6A-DEFC-8DCD-B2375BF492B7}"/>
              </a:ext>
            </a:extLst>
          </p:cNvPr>
          <p:cNvGrpSpPr/>
          <p:nvPr/>
        </p:nvGrpSpPr>
        <p:grpSpPr>
          <a:xfrm>
            <a:off x="4355887" y="3364450"/>
            <a:ext cx="1221291" cy="2795687"/>
            <a:chOff x="4355887" y="3248102"/>
            <a:chExt cx="1221291" cy="2795687"/>
          </a:xfrm>
        </p:grpSpPr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F1F76D19-B08F-DDF7-074D-0F37D8AC54A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973848" y="3248102"/>
              <a:ext cx="7534" cy="2446133"/>
            </a:xfrm>
            <a:prstGeom prst="line">
              <a:avLst/>
            </a:prstGeom>
            <a:ln w="19050" cap="flat" cmpd="sng" algn="ctr">
              <a:solidFill>
                <a:srgbClr val="28A8EA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F0BAF641-EFEF-6239-3F57-747D227FE873}"/>
                </a:ext>
              </a:extLst>
            </p:cNvPr>
            <p:cNvSpPr txBox="1"/>
            <p:nvPr/>
          </p:nvSpPr>
          <p:spPr>
            <a:xfrm>
              <a:off x="4355887" y="5705235"/>
              <a:ext cx="122129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600" b="1" dirty="0"/>
                <a:t>Today</a:t>
              </a:r>
            </a:p>
          </p:txBody>
        </p:sp>
      </p:grpSp>
      <p:sp>
        <p:nvSpPr>
          <p:cNvPr id="50" name="MSED 2019">
            <a:extLst>
              <a:ext uri="{FF2B5EF4-FFF2-40B4-BE49-F238E27FC236}">
                <a16:creationId xmlns:a16="http://schemas.microsoft.com/office/drawing/2014/main" id="{559E3AFD-4B9F-2817-586B-4EF3C5BA9B38}"/>
              </a:ext>
            </a:extLst>
          </p:cNvPr>
          <p:cNvSpPr/>
          <p:nvPr/>
        </p:nvSpPr>
        <p:spPr>
          <a:xfrm>
            <a:off x="3002157" y="6001823"/>
            <a:ext cx="1541772" cy="711714"/>
          </a:xfrm>
          <a:prstGeom prst="wedgeRoundRectCallout">
            <a:avLst>
              <a:gd name="adj1" fmla="val 61285"/>
              <a:gd name="adj2" fmla="val -107354"/>
              <a:gd name="adj3" fmla="val 16667"/>
            </a:avLst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b="1" i="1" dirty="0"/>
              <a:t>Plan for </a:t>
            </a:r>
            <a:br>
              <a:rPr lang="en-US" sz="1050" b="1" i="1" dirty="0"/>
            </a:br>
            <a:r>
              <a:rPr lang="en-US" sz="1050" b="1" i="1" dirty="0"/>
              <a:t>Exchange Server 2013 decommissioning 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E6CC0937-9933-403B-EA18-DD4B8A8FD83F}"/>
              </a:ext>
            </a:extLst>
          </p:cNvPr>
          <p:cNvGrpSpPr/>
          <p:nvPr/>
        </p:nvGrpSpPr>
        <p:grpSpPr>
          <a:xfrm>
            <a:off x="8648213" y="2217433"/>
            <a:ext cx="1462529" cy="477298"/>
            <a:chOff x="10653830" y="4532165"/>
            <a:chExt cx="1462529" cy="477298"/>
          </a:xfrm>
        </p:grpSpPr>
        <p:cxnSp>
          <p:nvCxnSpPr>
            <p:cNvPr id="52" name="Gerade Verbindung mit Pfeil 51">
              <a:extLst>
                <a:ext uri="{FF2B5EF4-FFF2-40B4-BE49-F238E27FC236}">
                  <a16:creationId xmlns:a16="http://schemas.microsoft.com/office/drawing/2014/main" id="{CFDA12BE-1C5B-B348-9200-508B570B9AA4}"/>
                </a:ext>
              </a:extLst>
            </p:cNvPr>
            <p:cNvCxnSpPr>
              <a:cxnSpLocks/>
            </p:cNvCxnSpPr>
            <p:nvPr/>
          </p:nvCxnSpPr>
          <p:spPr>
            <a:xfrm>
              <a:off x="10729270" y="4829551"/>
              <a:ext cx="1314434" cy="1628"/>
            </a:xfrm>
            <a:prstGeom prst="straightConnector1">
              <a:avLst/>
            </a:prstGeom>
            <a:ln w="285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53" name="Gerade Verbindung mit Pfeil 52">
              <a:extLst>
                <a:ext uri="{FF2B5EF4-FFF2-40B4-BE49-F238E27FC236}">
                  <a16:creationId xmlns:a16="http://schemas.microsoft.com/office/drawing/2014/main" id="{DAB67EF9-337C-9DE7-C7B5-09989AF19379}"/>
                </a:ext>
              </a:extLst>
            </p:cNvPr>
            <p:cNvCxnSpPr>
              <a:cxnSpLocks/>
            </p:cNvCxnSpPr>
            <p:nvPr/>
          </p:nvCxnSpPr>
          <p:spPr>
            <a:xfrm>
              <a:off x="10729270" y="4565191"/>
              <a:ext cx="1314434" cy="0"/>
            </a:xfrm>
            <a:prstGeom prst="straightConnector1">
              <a:avLst/>
            </a:prstGeom>
            <a:ln w="285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336D5FFB-8ECF-E081-5BFF-C1830E186904}"/>
                </a:ext>
              </a:extLst>
            </p:cNvPr>
            <p:cNvSpPr txBox="1"/>
            <p:nvPr/>
          </p:nvSpPr>
          <p:spPr>
            <a:xfrm>
              <a:off x="10653830" y="4532165"/>
              <a:ext cx="146252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Mainstream Support</a:t>
              </a:r>
            </a:p>
          </p:txBody>
        </p:sp>
        <p:sp>
          <p:nvSpPr>
            <p:cNvPr id="55" name="Textfeld 54">
              <a:extLst>
                <a:ext uri="{FF2B5EF4-FFF2-40B4-BE49-F238E27FC236}">
                  <a16:creationId xmlns:a16="http://schemas.microsoft.com/office/drawing/2014/main" id="{17665690-F639-B1CC-2F83-B5E5A4E38657}"/>
                </a:ext>
              </a:extLst>
            </p:cNvPr>
            <p:cNvSpPr txBox="1"/>
            <p:nvPr/>
          </p:nvSpPr>
          <p:spPr>
            <a:xfrm>
              <a:off x="10653830" y="4778631"/>
              <a:ext cx="142098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Extended Suppor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54718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3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neNoteFluid_FileOrder xmlns="3a568665-ea97-4759-a60d-3fa5399c1650" xsi:nil="true"/>
    <TaxCatchAll xmlns="62d6cd79-aa1e-4139-b4a7-3c8cf88cd3a9" xsi:nil="true"/>
    <lcf76f155ced4ddcb4097134ff3c332f xmlns="3a568665-ea97-4759-a60d-3fa5399c1650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D030FF97B6C34F89FD74A51F6DEDAD" ma:contentTypeVersion="10" ma:contentTypeDescription="Create a new document." ma:contentTypeScope="" ma:versionID="10b93d7bf6219c3f33d4e052a2696d55">
  <xsd:schema xmlns:xsd="http://www.w3.org/2001/XMLSchema" xmlns:xs="http://www.w3.org/2001/XMLSchema" xmlns:p="http://schemas.microsoft.com/office/2006/metadata/properties" xmlns:ns2="3a568665-ea97-4759-a60d-3fa5399c1650" xmlns:ns3="62d6cd79-aa1e-4139-b4a7-3c8cf88cd3a9" targetNamespace="http://schemas.microsoft.com/office/2006/metadata/properties" ma:root="true" ma:fieldsID="3dd78a10f5d13a81991328a822af43f8" ns2:_="" ns3:_="">
    <xsd:import namespace="3a568665-ea97-4759-a60d-3fa5399c1650"/>
    <xsd:import namespace="62d6cd79-aa1e-4139-b4a7-3c8cf88cd3a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OneNoteFluid_FileOrder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568665-ea97-4759-a60d-3fa5399c165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OneNoteFluid_FileOrder" ma:index="12" nillable="true" ma:displayName="OneNoteFluid_FileOrder" ma:internalName="OneNoteFluid_FileOrder">
      <xsd:simpleType>
        <xsd:restriction base="dms:Text">
          <xsd:maxLength value="255"/>
        </xsd:restriction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d6cd79-aa1e-4139-b4a7-3c8cf88cd3a9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93ab7897-b18d-42d9-9f54-a32770ffe4cd}" ma:internalName="TaxCatchAll" ma:showField="CatchAllData" ma:web="62d6cd79-aa1e-4139-b4a7-3c8cf88cd3a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0E4129D-F018-4CEA-9FD8-A668C8C7CB54}">
  <ds:schemaRefs>
    <ds:schemaRef ds:uri="http://purl.org/dc/elements/1.1/"/>
    <ds:schemaRef ds:uri="http://schemas.microsoft.com/office/2006/documentManagement/types"/>
    <ds:schemaRef ds:uri="3a568665-ea97-4759-a60d-3fa5399c1650"/>
    <ds:schemaRef ds:uri="http://www.w3.org/XML/1998/namespace"/>
    <ds:schemaRef ds:uri="http://schemas.openxmlformats.org/package/2006/metadata/core-properties"/>
    <ds:schemaRef ds:uri="http://purl.org/dc/dcmitype/"/>
    <ds:schemaRef ds:uri="62d6cd79-aa1e-4139-b4a7-3c8cf88cd3a9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67E224B2-06D5-4A2A-8D55-3A68390B87B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E6AC766-6EF3-4336-AAAB-53A6C21881F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a568665-ea97-4759-a60d-3fa5399c1650"/>
    <ds:schemaRef ds:uri="62d6cd79-aa1e-4139-b4a7-3c8cf88cd3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36</Words>
  <Application>Microsoft Office PowerPoint</Application>
  <PresentationFormat>Breitbild</PresentationFormat>
  <Paragraphs>306</Paragraphs>
  <Slides>34</Slides>
  <Notes>3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4</vt:i4>
      </vt:variant>
    </vt:vector>
  </HeadingPairs>
  <TitlesOfParts>
    <vt:vector size="41" baseType="lpstr">
      <vt:lpstr>Arial</vt:lpstr>
      <vt:lpstr>Calibri</vt:lpstr>
      <vt:lpstr>Open Sans</vt:lpstr>
      <vt:lpstr>Segoe UI</vt:lpstr>
      <vt:lpstr>Segoe UI Light</vt:lpstr>
      <vt:lpstr>Segoe UI Semibold</vt:lpstr>
      <vt:lpstr>Office Theme</vt:lpstr>
      <vt:lpstr>PowerPoint-Präsentation</vt:lpstr>
      <vt:lpstr>PowerPoint-Präsentation</vt:lpstr>
      <vt:lpstr>Agenda</vt:lpstr>
      <vt:lpstr>PowerPoint-Präsentation</vt:lpstr>
      <vt:lpstr>Exchange Server 2019</vt:lpstr>
      <vt:lpstr>Exchange Server 2019</vt:lpstr>
      <vt:lpstr>Exchange Server 2019</vt:lpstr>
      <vt:lpstr>Exchange Hybrid</vt:lpstr>
      <vt:lpstr>Exchange Server Life-Cycle</vt:lpstr>
      <vt:lpstr>PowerPoint-Präsentation</vt:lpstr>
      <vt:lpstr>Basics</vt:lpstr>
      <vt:lpstr>Basics</vt:lpstr>
      <vt:lpstr>Basics</vt:lpstr>
      <vt:lpstr>Exchange Server 2019 Prerequisites</vt:lpstr>
      <vt:lpstr>PowerPoint-Präsentation</vt:lpstr>
      <vt:lpstr>Install Exchange Server 2019</vt:lpstr>
      <vt:lpstr>DAG Coexistence Exchange 2016 + 2019</vt:lpstr>
      <vt:lpstr>Configure Exchange Server 2019</vt:lpstr>
      <vt:lpstr>Configure Exchange Server 2019</vt:lpstr>
      <vt:lpstr>Exchange Server – Up-Proxy</vt:lpstr>
      <vt:lpstr>Exchange Server – Down-Proxy</vt:lpstr>
      <vt:lpstr>Load Balancing and Kerberos</vt:lpstr>
      <vt:lpstr>Move to Exchange Server 2019</vt:lpstr>
      <vt:lpstr>System Mailboxes</vt:lpstr>
      <vt:lpstr>Offline Address Book</vt:lpstr>
      <vt:lpstr>Modern Public Folder Migration</vt:lpstr>
      <vt:lpstr>Notes from the Field</vt:lpstr>
      <vt:lpstr>Notes from the Field</vt:lpstr>
      <vt:lpstr>Notes from the Field</vt:lpstr>
      <vt:lpstr>MAPI over HTTP Best Practices</vt:lpstr>
      <vt:lpstr>Public Folder during Coexistence</vt:lpstr>
      <vt:lpstr>Edge Transport</vt:lpstr>
      <vt:lpstr>Useful Links &amp; Resources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C 2022 - Upgrade to Exchange Server 2019</dc:title>
  <dc:creator>Thomas.Stensitzki@Granikos.eu;Sigi@jagott-it.de</dc:creator>
  <cp:keywords>MEC</cp:keywords>
  <cp:lastModifiedBy>Thomas Stensitzki</cp:lastModifiedBy>
  <cp:revision>16</cp:revision>
  <dcterms:created xsi:type="dcterms:W3CDTF">2022-06-22T19:47:45Z</dcterms:created>
  <dcterms:modified xsi:type="dcterms:W3CDTF">2022-09-14T13:36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D030FF97B6C34F89FD74A51F6DEDAD</vt:lpwstr>
  </property>
</Properties>
</file>